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24" r:id="rId5"/>
    <p:sldMasterId id="2147483691" r:id="rId6"/>
    <p:sldMasterId id="2147483757" r:id="rId7"/>
    <p:sldMasterId id="2147483790" r:id="rId8"/>
    <p:sldMasterId id="2147483798" r:id="rId9"/>
    <p:sldMasterId id="2147483854" r:id="rId10"/>
  </p:sldMasterIdLst>
  <p:notesMasterIdLst>
    <p:notesMasterId r:id="rId22"/>
  </p:notesMasterIdLst>
  <p:sldIdLst>
    <p:sldId id="256" r:id="rId11"/>
    <p:sldId id="2145706648" r:id="rId12"/>
    <p:sldId id="263" r:id="rId13"/>
    <p:sldId id="2145706650" r:id="rId14"/>
    <p:sldId id="2145706651" r:id="rId15"/>
    <p:sldId id="2145706652" r:id="rId16"/>
    <p:sldId id="2145706694" r:id="rId17"/>
    <p:sldId id="2145706695" r:id="rId18"/>
    <p:sldId id="2145706696" r:id="rId19"/>
    <p:sldId id="2145706697" r:id="rId20"/>
    <p:sldId id="2145706698" r:id="rId21"/>
  </p:sldIdLst>
  <p:sldSz cx="12192000" cy="6858000"/>
  <p:notesSz cx="6858000" cy="9144000"/>
  <p:defaultTextStyle>
    <a:defPPr>
      <a:defRPr lang="en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0A9DA53-51E3-40D1-942D-6B4F3AB37088}" v="14" dt="2023-05-05T11:58:50.7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ukkio Saana" userId="1ab2a2d6-0d22-4696-97ae-bc3edbbbd996" providerId="ADAL" clId="{C0A9DA53-51E3-40D1-942D-6B4F3AB37088}"/>
    <pc:docChg chg="undo custSel addSld delSld modSld sldOrd">
      <pc:chgData name="Pukkio Saana" userId="1ab2a2d6-0d22-4696-97ae-bc3edbbbd996" providerId="ADAL" clId="{C0A9DA53-51E3-40D1-942D-6B4F3AB37088}" dt="2023-05-05T11:59:09.551" v="7581"/>
      <pc:docMkLst>
        <pc:docMk/>
      </pc:docMkLst>
      <pc:sldChg chg="modSp mod">
        <pc:chgData name="Pukkio Saana" userId="1ab2a2d6-0d22-4696-97ae-bc3edbbbd996" providerId="ADAL" clId="{C0A9DA53-51E3-40D1-942D-6B4F3AB37088}" dt="2023-05-05T09:04:20.521" v="340" actId="5793"/>
        <pc:sldMkLst>
          <pc:docMk/>
          <pc:sldMk cId="1094704483" sldId="256"/>
        </pc:sldMkLst>
        <pc:spChg chg="mod">
          <ac:chgData name="Pukkio Saana" userId="1ab2a2d6-0d22-4696-97ae-bc3edbbbd996" providerId="ADAL" clId="{C0A9DA53-51E3-40D1-942D-6B4F3AB37088}" dt="2023-05-05T09:02:19.439" v="108" actId="20577"/>
          <ac:spMkLst>
            <pc:docMk/>
            <pc:sldMk cId="1094704483" sldId="256"/>
            <ac:spMk id="2" creationId="{CA6EC45E-45BD-B9BC-A9B1-A58F131101C5}"/>
          </ac:spMkLst>
        </pc:spChg>
        <pc:spChg chg="mod">
          <ac:chgData name="Pukkio Saana" userId="1ab2a2d6-0d22-4696-97ae-bc3edbbbd996" providerId="ADAL" clId="{C0A9DA53-51E3-40D1-942D-6B4F3AB37088}" dt="2023-05-05T09:04:20.521" v="340" actId="5793"/>
          <ac:spMkLst>
            <pc:docMk/>
            <pc:sldMk cId="1094704483" sldId="256"/>
            <ac:spMk id="3" creationId="{FFA7EDE7-7D4F-C5D0-9981-0EE258E8E447}"/>
          </ac:spMkLst>
        </pc:spChg>
      </pc:sldChg>
      <pc:sldChg chg="new del">
        <pc:chgData name="Pukkio Saana" userId="1ab2a2d6-0d22-4696-97ae-bc3edbbbd996" providerId="ADAL" clId="{C0A9DA53-51E3-40D1-942D-6B4F3AB37088}" dt="2023-05-05T08:58:30.035" v="1" actId="47"/>
        <pc:sldMkLst>
          <pc:docMk/>
          <pc:sldMk cId="1318639858" sldId="257"/>
        </pc:sldMkLst>
      </pc:sldChg>
      <pc:sldChg chg="modSp add mod">
        <pc:chgData name="Pukkio Saana" userId="1ab2a2d6-0d22-4696-97ae-bc3edbbbd996" providerId="ADAL" clId="{C0A9DA53-51E3-40D1-942D-6B4F3AB37088}" dt="2023-05-05T10:47:31.498" v="396" actId="20577"/>
        <pc:sldMkLst>
          <pc:docMk/>
          <pc:sldMk cId="1495146343" sldId="263"/>
        </pc:sldMkLst>
        <pc:spChg chg="mod">
          <ac:chgData name="Pukkio Saana" userId="1ab2a2d6-0d22-4696-97ae-bc3edbbbd996" providerId="ADAL" clId="{C0A9DA53-51E3-40D1-942D-6B4F3AB37088}" dt="2023-05-05T10:47:31.498" v="396" actId="20577"/>
          <ac:spMkLst>
            <pc:docMk/>
            <pc:sldMk cId="1495146343" sldId="263"/>
            <ac:spMk id="3" creationId="{C2786007-9DB2-278E-B587-D67221D27577}"/>
          </ac:spMkLst>
        </pc:spChg>
      </pc:sldChg>
      <pc:sldChg chg="delSp modSp del mod">
        <pc:chgData name="Pukkio Saana" userId="1ab2a2d6-0d22-4696-97ae-bc3edbbbd996" providerId="ADAL" clId="{C0A9DA53-51E3-40D1-942D-6B4F3AB37088}" dt="2023-05-05T10:45:26.248" v="367" actId="113"/>
        <pc:sldMkLst>
          <pc:docMk/>
          <pc:sldMk cId="864551373" sldId="2145706648"/>
        </pc:sldMkLst>
        <pc:spChg chg="del mod">
          <ac:chgData name="Pukkio Saana" userId="1ab2a2d6-0d22-4696-97ae-bc3edbbbd996" providerId="ADAL" clId="{C0A9DA53-51E3-40D1-942D-6B4F3AB37088}" dt="2023-05-05T10:43:55.689" v="342" actId="478"/>
          <ac:spMkLst>
            <pc:docMk/>
            <pc:sldMk cId="864551373" sldId="2145706648"/>
            <ac:spMk id="2" creationId="{0BEA2C1B-4239-8483-5B0B-E4FB32438343}"/>
          </ac:spMkLst>
        </pc:spChg>
        <pc:spChg chg="mod">
          <ac:chgData name="Pukkio Saana" userId="1ab2a2d6-0d22-4696-97ae-bc3edbbbd996" providerId="ADAL" clId="{C0A9DA53-51E3-40D1-942D-6B4F3AB37088}" dt="2023-05-05T10:45:04.954" v="366" actId="20577"/>
          <ac:spMkLst>
            <pc:docMk/>
            <pc:sldMk cId="864551373" sldId="2145706648"/>
            <ac:spMk id="9" creationId="{0B79ED03-3B10-AB35-C95D-6C572D5B8C9E}"/>
          </ac:spMkLst>
        </pc:spChg>
        <pc:spChg chg="mod">
          <ac:chgData name="Pukkio Saana" userId="1ab2a2d6-0d22-4696-97ae-bc3edbbbd996" providerId="ADAL" clId="{C0A9DA53-51E3-40D1-942D-6B4F3AB37088}" dt="2023-05-05T10:45:00.921" v="365" actId="20577"/>
          <ac:spMkLst>
            <pc:docMk/>
            <pc:sldMk cId="864551373" sldId="2145706648"/>
            <ac:spMk id="37" creationId="{47A4058A-9ABB-43E8-9E2A-447083E137D1}"/>
          </ac:spMkLst>
        </pc:spChg>
        <pc:spChg chg="mod">
          <ac:chgData name="Pukkio Saana" userId="1ab2a2d6-0d22-4696-97ae-bc3edbbbd996" providerId="ADAL" clId="{C0A9DA53-51E3-40D1-942D-6B4F3AB37088}" dt="2023-05-05T10:44:46.757" v="364" actId="20577"/>
          <ac:spMkLst>
            <pc:docMk/>
            <pc:sldMk cId="864551373" sldId="2145706648"/>
            <ac:spMk id="46" creationId="{28B9FEED-5AEF-462E-884F-1E56FA7A7D5E}"/>
          </ac:spMkLst>
        </pc:spChg>
        <pc:spChg chg="mod">
          <ac:chgData name="Pukkio Saana" userId="1ab2a2d6-0d22-4696-97ae-bc3edbbbd996" providerId="ADAL" clId="{C0A9DA53-51E3-40D1-942D-6B4F3AB37088}" dt="2023-05-05T10:45:26.248" v="367" actId="113"/>
          <ac:spMkLst>
            <pc:docMk/>
            <pc:sldMk cId="864551373" sldId="2145706648"/>
            <ac:spMk id="59" creationId="{ECC978DA-7747-489A-AC65-B50DC52199D5}"/>
          </ac:spMkLst>
        </pc:spChg>
      </pc:sldChg>
      <pc:sldChg chg="new del">
        <pc:chgData name="Pukkio Saana" userId="1ab2a2d6-0d22-4696-97ae-bc3edbbbd996" providerId="ADAL" clId="{C0A9DA53-51E3-40D1-942D-6B4F3AB37088}" dt="2023-05-05T10:47:16.168" v="370" actId="47"/>
        <pc:sldMkLst>
          <pc:docMk/>
          <pc:sldMk cId="2402917549" sldId="2145706649"/>
        </pc:sldMkLst>
      </pc:sldChg>
      <pc:sldChg chg="modSp new del mod">
        <pc:chgData name="Pukkio Saana" userId="1ab2a2d6-0d22-4696-97ae-bc3edbbbd996" providerId="ADAL" clId="{C0A9DA53-51E3-40D1-942D-6B4F3AB37088}" dt="2023-05-05T10:58:48.801" v="1181" actId="47"/>
        <pc:sldMkLst>
          <pc:docMk/>
          <pc:sldMk cId="3795267255" sldId="2145706649"/>
        </pc:sldMkLst>
        <pc:spChg chg="mod">
          <ac:chgData name="Pukkio Saana" userId="1ab2a2d6-0d22-4696-97ae-bc3edbbbd996" providerId="ADAL" clId="{C0A9DA53-51E3-40D1-942D-6B4F3AB37088}" dt="2023-05-05T10:50:37.774" v="490" actId="1076"/>
          <ac:spMkLst>
            <pc:docMk/>
            <pc:sldMk cId="3795267255" sldId="2145706649"/>
            <ac:spMk id="2" creationId="{FC8013FF-7985-D069-5BDD-78F0DD4B5A35}"/>
          </ac:spMkLst>
        </pc:spChg>
        <pc:spChg chg="mod">
          <ac:chgData name="Pukkio Saana" userId="1ab2a2d6-0d22-4696-97ae-bc3edbbbd996" providerId="ADAL" clId="{C0A9DA53-51E3-40D1-942D-6B4F3AB37088}" dt="2023-05-05T10:55:02.499" v="1104" actId="20577"/>
          <ac:spMkLst>
            <pc:docMk/>
            <pc:sldMk cId="3795267255" sldId="2145706649"/>
            <ac:spMk id="3" creationId="{EEE05E71-9B59-4034-E880-12183A55A4CB}"/>
          </ac:spMkLst>
        </pc:spChg>
      </pc:sldChg>
      <pc:sldChg chg="addSp delSp modSp new del mod">
        <pc:chgData name="Pukkio Saana" userId="1ab2a2d6-0d22-4696-97ae-bc3edbbbd996" providerId="ADAL" clId="{C0A9DA53-51E3-40D1-942D-6B4F3AB37088}" dt="2023-05-05T10:57:34.259" v="1121" actId="680"/>
        <pc:sldMkLst>
          <pc:docMk/>
          <pc:sldMk cId="1200121322" sldId="2145706650"/>
        </pc:sldMkLst>
        <pc:spChg chg="mod">
          <ac:chgData name="Pukkio Saana" userId="1ab2a2d6-0d22-4696-97ae-bc3edbbbd996" providerId="ADAL" clId="{C0A9DA53-51E3-40D1-942D-6B4F3AB37088}" dt="2023-05-05T10:57:33.516" v="1118"/>
          <ac:spMkLst>
            <pc:docMk/>
            <pc:sldMk cId="1200121322" sldId="2145706650"/>
            <ac:spMk id="2" creationId="{35C96DA7-1448-63D0-055F-1077F76541A0}"/>
          </ac:spMkLst>
        </pc:spChg>
        <pc:spChg chg="add del">
          <ac:chgData name="Pukkio Saana" userId="1ab2a2d6-0d22-4696-97ae-bc3edbbbd996" providerId="ADAL" clId="{C0A9DA53-51E3-40D1-942D-6B4F3AB37088}" dt="2023-05-05T10:57:33.735" v="1120" actId="931"/>
          <ac:spMkLst>
            <pc:docMk/>
            <pc:sldMk cId="1200121322" sldId="2145706650"/>
            <ac:spMk id="4" creationId="{879DC75F-7CAB-1DF5-85F8-1FDB51D7B69F}"/>
          </ac:spMkLst>
        </pc:spChg>
        <pc:picChg chg="add del mod">
          <ac:chgData name="Pukkio Saana" userId="1ab2a2d6-0d22-4696-97ae-bc3edbbbd996" providerId="ADAL" clId="{C0A9DA53-51E3-40D1-942D-6B4F3AB37088}" dt="2023-05-05T10:57:33.735" v="1120" actId="931"/>
          <ac:picMkLst>
            <pc:docMk/>
            <pc:sldMk cId="1200121322" sldId="2145706650"/>
            <ac:picMk id="6" creationId="{F4B89ECC-379E-0734-05CB-379386DF28C0}"/>
          </ac:picMkLst>
        </pc:picChg>
      </pc:sldChg>
      <pc:sldChg chg="addSp delSp modSp new mod">
        <pc:chgData name="Pukkio Saana" userId="1ab2a2d6-0d22-4696-97ae-bc3edbbbd996" providerId="ADAL" clId="{C0A9DA53-51E3-40D1-942D-6B4F3AB37088}" dt="2023-05-05T11:17:44.901" v="3329" actId="2711"/>
        <pc:sldMkLst>
          <pc:docMk/>
          <pc:sldMk cId="3221037238" sldId="2145706650"/>
        </pc:sldMkLst>
        <pc:spChg chg="mod">
          <ac:chgData name="Pukkio Saana" userId="1ab2a2d6-0d22-4696-97ae-bc3edbbbd996" providerId="ADAL" clId="{C0A9DA53-51E3-40D1-942D-6B4F3AB37088}" dt="2023-05-05T10:58:34.408" v="1177" actId="14100"/>
          <ac:spMkLst>
            <pc:docMk/>
            <pc:sldMk cId="3221037238" sldId="2145706650"/>
            <ac:spMk id="2" creationId="{61DBA983-EFFF-43AC-1C08-4E99EBB443F1}"/>
          </ac:spMkLst>
        </pc:spChg>
        <pc:spChg chg="mod">
          <ac:chgData name="Pukkio Saana" userId="1ab2a2d6-0d22-4696-97ae-bc3edbbbd996" providerId="ADAL" clId="{C0A9DA53-51E3-40D1-942D-6B4F3AB37088}" dt="2023-05-05T11:17:44.901" v="3329" actId="2711"/>
          <ac:spMkLst>
            <pc:docMk/>
            <pc:sldMk cId="3221037238" sldId="2145706650"/>
            <ac:spMk id="3" creationId="{F6C5C440-0895-DB7F-1C1C-DFB5DC9A69F3}"/>
          </ac:spMkLst>
        </pc:spChg>
        <pc:spChg chg="del">
          <ac:chgData name="Pukkio Saana" userId="1ab2a2d6-0d22-4696-97ae-bc3edbbbd996" providerId="ADAL" clId="{C0A9DA53-51E3-40D1-942D-6B4F3AB37088}" dt="2023-05-05T10:57:50.883" v="1123" actId="931"/>
          <ac:spMkLst>
            <pc:docMk/>
            <pc:sldMk cId="3221037238" sldId="2145706650"/>
            <ac:spMk id="4" creationId="{1D6C0541-B7C0-AEF2-296C-B9D3D3F7DECA}"/>
          </ac:spMkLst>
        </pc:spChg>
        <pc:picChg chg="add mod">
          <ac:chgData name="Pukkio Saana" userId="1ab2a2d6-0d22-4696-97ae-bc3edbbbd996" providerId="ADAL" clId="{C0A9DA53-51E3-40D1-942D-6B4F3AB37088}" dt="2023-05-05T10:58:54.405" v="1182" actId="14100"/>
          <ac:picMkLst>
            <pc:docMk/>
            <pc:sldMk cId="3221037238" sldId="2145706650"/>
            <ac:picMk id="6" creationId="{67B7A98B-1247-CD53-BE59-645BA9832AA2}"/>
          </ac:picMkLst>
        </pc:picChg>
      </pc:sldChg>
      <pc:sldChg chg="delSp new del mod">
        <pc:chgData name="Pukkio Saana" userId="1ab2a2d6-0d22-4696-97ae-bc3edbbbd996" providerId="ADAL" clId="{C0A9DA53-51E3-40D1-942D-6B4F3AB37088}" dt="2023-05-05T10:56:15.194" v="1107" actId="2696"/>
        <pc:sldMkLst>
          <pc:docMk/>
          <pc:sldMk cId="3730401600" sldId="2145706650"/>
        </pc:sldMkLst>
        <pc:spChg chg="del">
          <ac:chgData name="Pukkio Saana" userId="1ab2a2d6-0d22-4696-97ae-bc3edbbbd996" providerId="ADAL" clId="{C0A9DA53-51E3-40D1-942D-6B4F3AB37088}" dt="2023-05-05T10:56:09.081" v="1106" actId="478"/>
          <ac:spMkLst>
            <pc:docMk/>
            <pc:sldMk cId="3730401600" sldId="2145706650"/>
            <ac:spMk id="4" creationId="{4C783FEE-06B5-5DD9-0A1F-A24ADD4B5023}"/>
          </ac:spMkLst>
        </pc:spChg>
      </pc:sldChg>
      <pc:sldChg chg="modSp new mod">
        <pc:chgData name="Pukkio Saana" userId="1ab2a2d6-0d22-4696-97ae-bc3edbbbd996" providerId="ADAL" clId="{C0A9DA53-51E3-40D1-942D-6B4F3AB37088}" dt="2023-05-05T11:05:35.654" v="1716" actId="20577"/>
        <pc:sldMkLst>
          <pc:docMk/>
          <pc:sldMk cId="3065208368" sldId="2145706651"/>
        </pc:sldMkLst>
        <pc:spChg chg="mod">
          <ac:chgData name="Pukkio Saana" userId="1ab2a2d6-0d22-4696-97ae-bc3edbbbd996" providerId="ADAL" clId="{C0A9DA53-51E3-40D1-942D-6B4F3AB37088}" dt="2023-05-05T11:01:01.191" v="1236" actId="20577"/>
          <ac:spMkLst>
            <pc:docMk/>
            <pc:sldMk cId="3065208368" sldId="2145706651"/>
            <ac:spMk id="2" creationId="{9F105761-7A82-7B1F-7B4B-6020E356965C}"/>
          </ac:spMkLst>
        </pc:spChg>
        <pc:spChg chg="mod">
          <ac:chgData name="Pukkio Saana" userId="1ab2a2d6-0d22-4696-97ae-bc3edbbbd996" providerId="ADAL" clId="{C0A9DA53-51E3-40D1-942D-6B4F3AB37088}" dt="2023-05-05T11:05:35.654" v="1716" actId="20577"/>
          <ac:spMkLst>
            <pc:docMk/>
            <pc:sldMk cId="3065208368" sldId="2145706651"/>
            <ac:spMk id="3" creationId="{DB6E5981-0409-6731-8143-6C22281D995F}"/>
          </ac:spMkLst>
        </pc:spChg>
      </pc:sldChg>
      <pc:sldChg chg="modSp new mod">
        <pc:chgData name="Pukkio Saana" userId="1ab2a2d6-0d22-4696-97ae-bc3edbbbd996" providerId="ADAL" clId="{C0A9DA53-51E3-40D1-942D-6B4F3AB37088}" dt="2023-05-05T11:19:37.346" v="3551" actId="27636"/>
        <pc:sldMkLst>
          <pc:docMk/>
          <pc:sldMk cId="2622377540" sldId="2145706652"/>
        </pc:sldMkLst>
        <pc:spChg chg="mod">
          <ac:chgData name="Pukkio Saana" userId="1ab2a2d6-0d22-4696-97ae-bc3edbbbd996" providerId="ADAL" clId="{C0A9DA53-51E3-40D1-942D-6B4F3AB37088}" dt="2023-05-05T11:17:05.854" v="3326" actId="27636"/>
          <ac:spMkLst>
            <pc:docMk/>
            <pc:sldMk cId="2622377540" sldId="2145706652"/>
            <ac:spMk id="2" creationId="{ED60973A-67D1-1771-7ACE-79B7083751CB}"/>
          </ac:spMkLst>
        </pc:spChg>
        <pc:spChg chg="mod">
          <ac:chgData name="Pukkio Saana" userId="1ab2a2d6-0d22-4696-97ae-bc3edbbbd996" providerId="ADAL" clId="{C0A9DA53-51E3-40D1-942D-6B4F3AB37088}" dt="2023-05-05T11:19:37.346" v="3551" actId="27636"/>
          <ac:spMkLst>
            <pc:docMk/>
            <pc:sldMk cId="2622377540" sldId="2145706652"/>
            <ac:spMk id="3" creationId="{A97CCBBB-5B3F-62C3-CBC7-1B66A287FED8}"/>
          </ac:spMkLst>
        </pc:spChg>
      </pc:sldChg>
      <pc:sldChg chg="delSp modSp del mod ord">
        <pc:chgData name="Pukkio Saana" userId="1ab2a2d6-0d22-4696-97ae-bc3edbbbd996" providerId="ADAL" clId="{C0A9DA53-51E3-40D1-942D-6B4F3AB37088}" dt="2023-05-05T11:40:03.999" v="4947"/>
        <pc:sldMkLst>
          <pc:docMk/>
          <pc:sldMk cId="1707617801" sldId="2145706694"/>
        </pc:sldMkLst>
        <pc:spChg chg="del mod">
          <ac:chgData name="Pukkio Saana" userId="1ab2a2d6-0d22-4696-97ae-bc3edbbbd996" providerId="ADAL" clId="{C0A9DA53-51E3-40D1-942D-6B4F3AB37088}" dt="2023-05-05T11:22:03.809" v="3553" actId="478"/>
          <ac:spMkLst>
            <pc:docMk/>
            <pc:sldMk cId="1707617801" sldId="2145706694"/>
            <ac:spMk id="3" creationId="{F687B99D-7C55-7E24-D8CE-B5D50055D0DC}"/>
          </ac:spMkLst>
        </pc:spChg>
        <pc:spChg chg="mod">
          <ac:chgData name="Pukkio Saana" userId="1ab2a2d6-0d22-4696-97ae-bc3edbbbd996" providerId="ADAL" clId="{C0A9DA53-51E3-40D1-942D-6B4F3AB37088}" dt="2023-05-05T11:23:57.966" v="3803" actId="1076"/>
          <ac:spMkLst>
            <pc:docMk/>
            <pc:sldMk cId="1707617801" sldId="2145706694"/>
            <ac:spMk id="7" creationId="{C36A5379-EA19-D29D-10FE-CC14764FE739}"/>
          </ac:spMkLst>
        </pc:spChg>
        <pc:spChg chg="mod">
          <ac:chgData name="Pukkio Saana" userId="1ab2a2d6-0d22-4696-97ae-bc3edbbbd996" providerId="ADAL" clId="{C0A9DA53-51E3-40D1-942D-6B4F3AB37088}" dt="2023-05-05T11:22:58.136" v="3704" actId="20577"/>
          <ac:spMkLst>
            <pc:docMk/>
            <pc:sldMk cId="1707617801" sldId="2145706694"/>
            <ac:spMk id="11" creationId="{343C162E-164A-42EF-92CC-02B6B571282A}"/>
          </ac:spMkLst>
        </pc:spChg>
        <pc:picChg chg="mod">
          <ac:chgData name="Pukkio Saana" userId="1ab2a2d6-0d22-4696-97ae-bc3edbbbd996" providerId="ADAL" clId="{C0A9DA53-51E3-40D1-942D-6B4F3AB37088}" dt="2023-05-05T11:23:47.604" v="3801" actId="1076"/>
          <ac:picMkLst>
            <pc:docMk/>
            <pc:sldMk cId="1707617801" sldId="2145706694"/>
            <ac:picMk id="4" creationId="{58694FAD-F509-CEC7-7B05-AD7B48856906}"/>
          </ac:picMkLst>
        </pc:picChg>
        <pc:cxnChg chg="mod">
          <ac:chgData name="Pukkio Saana" userId="1ab2a2d6-0d22-4696-97ae-bc3edbbbd996" providerId="ADAL" clId="{C0A9DA53-51E3-40D1-942D-6B4F3AB37088}" dt="2023-05-05T11:23:48.458" v="3802" actId="1076"/>
          <ac:cxnSpMkLst>
            <pc:docMk/>
            <pc:sldMk cId="1707617801" sldId="2145706694"/>
            <ac:cxnSpMk id="14" creationId="{2FEAC800-C8D0-3924-2A3E-04BAA74C45F4}"/>
          </ac:cxnSpMkLst>
        </pc:cxnChg>
      </pc:sldChg>
      <pc:sldChg chg="addSp delSp modSp new mod ord setBg">
        <pc:chgData name="Pukkio Saana" userId="1ab2a2d6-0d22-4696-97ae-bc3edbbbd996" providerId="ADAL" clId="{C0A9DA53-51E3-40D1-942D-6B4F3AB37088}" dt="2023-05-05T11:47:15.905" v="6287" actId="20577"/>
        <pc:sldMkLst>
          <pc:docMk/>
          <pc:sldMk cId="2497799113" sldId="2145706695"/>
        </pc:sldMkLst>
        <pc:spChg chg="mod">
          <ac:chgData name="Pukkio Saana" userId="1ab2a2d6-0d22-4696-97ae-bc3edbbbd996" providerId="ADAL" clId="{C0A9DA53-51E3-40D1-942D-6B4F3AB37088}" dt="2023-05-05T11:36:41.166" v="4797" actId="20577"/>
          <ac:spMkLst>
            <pc:docMk/>
            <pc:sldMk cId="2497799113" sldId="2145706695"/>
            <ac:spMk id="2" creationId="{190EE4A5-4A83-2CD4-7C24-AE4AF55A4847}"/>
          </ac:spMkLst>
        </pc:spChg>
        <pc:spChg chg="mod ord">
          <ac:chgData name="Pukkio Saana" userId="1ab2a2d6-0d22-4696-97ae-bc3edbbbd996" providerId="ADAL" clId="{C0A9DA53-51E3-40D1-942D-6B4F3AB37088}" dt="2023-05-05T11:47:15.905" v="6287" actId="20577"/>
          <ac:spMkLst>
            <pc:docMk/>
            <pc:sldMk cId="2497799113" sldId="2145706695"/>
            <ac:spMk id="3" creationId="{CCAE7B2D-ECCB-3369-BD2F-82F1A813195D}"/>
          </ac:spMkLst>
        </pc:spChg>
        <pc:spChg chg="del">
          <ac:chgData name="Pukkio Saana" userId="1ab2a2d6-0d22-4696-97ae-bc3edbbbd996" providerId="ADAL" clId="{C0A9DA53-51E3-40D1-942D-6B4F3AB37088}" dt="2023-05-05T11:36:17.785" v="4771" actId="931"/>
          <ac:spMkLst>
            <pc:docMk/>
            <pc:sldMk cId="2497799113" sldId="2145706695"/>
            <ac:spMk id="4" creationId="{3DD0CA0D-B335-A224-CAB1-67257F256192}"/>
          </ac:spMkLst>
        </pc:spChg>
        <pc:spChg chg="add del">
          <ac:chgData name="Pukkio Saana" userId="1ab2a2d6-0d22-4696-97ae-bc3edbbbd996" providerId="ADAL" clId="{C0A9DA53-51E3-40D1-942D-6B4F3AB37088}" dt="2023-05-05T11:36:32.855" v="4773" actId="26606"/>
          <ac:spMkLst>
            <pc:docMk/>
            <pc:sldMk cId="2497799113" sldId="2145706695"/>
            <ac:spMk id="11" creationId="{327D73B4-9F5C-4A64-A179-51B9500CB8B5}"/>
          </ac:spMkLst>
        </pc:spChg>
        <pc:spChg chg="add del">
          <ac:chgData name="Pukkio Saana" userId="1ab2a2d6-0d22-4696-97ae-bc3edbbbd996" providerId="ADAL" clId="{C0A9DA53-51E3-40D1-942D-6B4F3AB37088}" dt="2023-05-05T11:36:32.855" v="4773" actId="26606"/>
          <ac:spMkLst>
            <pc:docMk/>
            <pc:sldMk cId="2497799113" sldId="2145706695"/>
            <ac:spMk id="13" creationId="{C1F06963-6374-4B48-844F-071A9BAAAE02}"/>
          </ac:spMkLst>
        </pc:spChg>
        <pc:spChg chg="add del">
          <ac:chgData name="Pukkio Saana" userId="1ab2a2d6-0d22-4696-97ae-bc3edbbbd996" providerId="ADAL" clId="{C0A9DA53-51E3-40D1-942D-6B4F3AB37088}" dt="2023-05-05T11:36:32.855" v="4773" actId="26606"/>
          <ac:spMkLst>
            <pc:docMk/>
            <pc:sldMk cId="2497799113" sldId="2145706695"/>
            <ac:spMk id="15" creationId="{6CB927A4-E432-4310-9CD5-E89FF5063179}"/>
          </ac:spMkLst>
        </pc:spChg>
        <pc:spChg chg="add del">
          <ac:chgData name="Pukkio Saana" userId="1ab2a2d6-0d22-4696-97ae-bc3edbbbd996" providerId="ADAL" clId="{C0A9DA53-51E3-40D1-942D-6B4F3AB37088}" dt="2023-05-05T11:36:32.855" v="4773" actId="26606"/>
          <ac:spMkLst>
            <pc:docMk/>
            <pc:sldMk cId="2497799113" sldId="2145706695"/>
            <ac:spMk id="17" creationId="{1453BF6C-B012-48B7-B4E8-6D7AC7C27D02}"/>
          </ac:spMkLst>
        </pc:spChg>
        <pc:spChg chg="add del">
          <ac:chgData name="Pukkio Saana" userId="1ab2a2d6-0d22-4696-97ae-bc3edbbbd996" providerId="ADAL" clId="{C0A9DA53-51E3-40D1-942D-6B4F3AB37088}" dt="2023-05-05T11:36:32.855" v="4773" actId="26606"/>
          <ac:spMkLst>
            <pc:docMk/>
            <pc:sldMk cId="2497799113" sldId="2145706695"/>
            <ac:spMk id="19" creationId="{E3020543-B24B-4EC4-8FFC-8DD88EEA91A8}"/>
          </ac:spMkLst>
        </pc:spChg>
        <pc:picChg chg="add mod">
          <ac:chgData name="Pukkio Saana" userId="1ab2a2d6-0d22-4696-97ae-bc3edbbbd996" providerId="ADAL" clId="{C0A9DA53-51E3-40D1-942D-6B4F3AB37088}" dt="2023-05-05T11:36:32.855" v="4773" actId="26606"/>
          <ac:picMkLst>
            <pc:docMk/>
            <pc:sldMk cId="2497799113" sldId="2145706695"/>
            <ac:picMk id="6" creationId="{81CE1C8A-6862-581D-3BCE-E87886F53652}"/>
          </ac:picMkLst>
        </pc:picChg>
        <pc:cxnChg chg="add del">
          <ac:chgData name="Pukkio Saana" userId="1ab2a2d6-0d22-4696-97ae-bc3edbbbd996" providerId="ADAL" clId="{C0A9DA53-51E3-40D1-942D-6B4F3AB37088}" dt="2023-05-05T11:36:32.855" v="4773" actId="26606"/>
          <ac:cxnSpMkLst>
            <pc:docMk/>
            <pc:sldMk cId="2497799113" sldId="2145706695"/>
            <ac:cxnSpMk id="21" creationId="{C49DA8F6-BCC1-4447-B54C-57856834B94B}"/>
          </ac:cxnSpMkLst>
        </pc:cxnChg>
      </pc:sldChg>
      <pc:sldChg chg="new del">
        <pc:chgData name="Pukkio Saana" userId="1ab2a2d6-0d22-4696-97ae-bc3edbbbd996" providerId="ADAL" clId="{C0A9DA53-51E3-40D1-942D-6B4F3AB37088}" dt="2023-05-05T11:26:36.664" v="4116" actId="47"/>
        <pc:sldMkLst>
          <pc:docMk/>
          <pc:sldMk cId="3263584696" sldId="2145706695"/>
        </pc:sldMkLst>
      </pc:sldChg>
      <pc:sldChg chg="modSp new del mod">
        <pc:chgData name="Pukkio Saana" userId="1ab2a2d6-0d22-4696-97ae-bc3edbbbd996" providerId="ADAL" clId="{C0A9DA53-51E3-40D1-942D-6B4F3AB37088}" dt="2023-05-05T11:26:23.181" v="4114" actId="47"/>
        <pc:sldMkLst>
          <pc:docMk/>
          <pc:sldMk cId="3810430461" sldId="2145706695"/>
        </pc:sldMkLst>
        <pc:spChg chg="mod">
          <ac:chgData name="Pukkio Saana" userId="1ab2a2d6-0d22-4696-97ae-bc3edbbbd996" providerId="ADAL" clId="{C0A9DA53-51E3-40D1-942D-6B4F3AB37088}" dt="2023-05-05T11:25:07.146" v="3858" actId="20577"/>
          <ac:spMkLst>
            <pc:docMk/>
            <pc:sldMk cId="3810430461" sldId="2145706695"/>
            <ac:spMk id="2" creationId="{FD4578F9-DAC9-1023-C1C7-AF5EB1D92747}"/>
          </ac:spMkLst>
        </pc:spChg>
        <pc:spChg chg="mod">
          <ac:chgData name="Pukkio Saana" userId="1ab2a2d6-0d22-4696-97ae-bc3edbbbd996" providerId="ADAL" clId="{C0A9DA53-51E3-40D1-942D-6B4F3AB37088}" dt="2023-05-05T11:26:19.904" v="4113" actId="20577"/>
          <ac:spMkLst>
            <pc:docMk/>
            <pc:sldMk cId="3810430461" sldId="2145706695"/>
            <ac:spMk id="3" creationId="{F22C1EFA-CAEF-324D-2F56-521E10DC8DED}"/>
          </ac:spMkLst>
        </pc:spChg>
      </pc:sldChg>
      <pc:sldChg chg="modSp new mod">
        <pc:chgData name="Pukkio Saana" userId="1ab2a2d6-0d22-4696-97ae-bc3edbbbd996" providerId="ADAL" clId="{C0A9DA53-51E3-40D1-942D-6B4F3AB37088}" dt="2023-05-05T11:57:52.058" v="7453" actId="20577"/>
        <pc:sldMkLst>
          <pc:docMk/>
          <pc:sldMk cId="2094196324" sldId="2145706696"/>
        </pc:sldMkLst>
        <pc:spChg chg="mod">
          <ac:chgData name="Pukkio Saana" userId="1ab2a2d6-0d22-4696-97ae-bc3edbbbd996" providerId="ADAL" clId="{C0A9DA53-51E3-40D1-942D-6B4F3AB37088}" dt="2023-05-05T11:57:52.058" v="7453" actId="20577"/>
          <ac:spMkLst>
            <pc:docMk/>
            <pc:sldMk cId="2094196324" sldId="2145706696"/>
            <ac:spMk id="2" creationId="{7AECFCF2-238A-978B-42BC-6FEF30BFEE5E}"/>
          </ac:spMkLst>
        </pc:spChg>
        <pc:spChg chg="mod">
          <ac:chgData name="Pukkio Saana" userId="1ab2a2d6-0d22-4696-97ae-bc3edbbbd996" providerId="ADAL" clId="{C0A9DA53-51E3-40D1-942D-6B4F3AB37088}" dt="2023-05-05T11:46:53.559" v="6285" actId="20577"/>
          <ac:spMkLst>
            <pc:docMk/>
            <pc:sldMk cId="2094196324" sldId="2145706696"/>
            <ac:spMk id="3" creationId="{54D59E8A-6E2F-CB7B-7A60-5A392869C3F2}"/>
          </ac:spMkLst>
        </pc:spChg>
      </pc:sldChg>
      <pc:sldChg chg="modSp new mod">
        <pc:chgData name="Pukkio Saana" userId="1ab2a2d6-0d22-4696-97ae-bc3edbbbd996" providerId="ADAL" clId="{C0A9DA53-51E3-40D1-942D-6B4F3AB37088}" dt="2023-05-05T11:57:34.182" v="7452" actId="12"/>
        <pc:sldMkLst>
          <pc:docMk/>
          <pc:sldMk cId="1138488752" sldId="2145706697"/>
        </pc:sldMkLst>
        <pc:spChg chg="mod">
          <ac:chgData name="Pukkio Saana" userId="1ab2a2d6-0d22-4696-97ae-bc3edbbbd996" providerId="ADAL" clId="{C0A9DA53-51E3-40D1-942D-6B4F3AB37088}" dt="2023-05-05T11:56:47.712" v="7371" actId="14100"/>
          <ac:spMkLst>
            <pc:docMk/>
            <pc:sldMk cId="1138488752" sldId="2145706697"/>
            <ac:spMk id="2" creationId="{067783F7-2866-BFB1-4E29-7E4260365BEC}"/>
          </ac:spMkLst>
        </pc:spChg>
        <pc:spChg chg="mod">
          <ac:chgData name="Pukkio Saana" userId="1ab2a2d6-0d22-4696-97ae-bc3edbbbd996" providerId="ADAL" clId="{C0A9DA53-51E3-40D1-942D-6B4F3AB37088}" dt="2023-05-05T11:57:34.182" v="7452" actId="12"/>
          <ac:spMkLst>
            <pc:docMk/>
            <pc:sldMk cId="1138488752" sldId="2145706697"/>
            <ac:spMk id="3" creationId="{7EC6B1B9-7BF6-2B3B-7AE3-6A2BF054F5C0}"/>
          </ac:spMkLst>
        </pc:spChg>
      </pc:sldChg>
      <pc:sldChg chg="modSp new mod ord">
        <pc:chgData name="Pukkio Saana" userId="1ab2a2d6-0d22-4696-97ae-bc3edbbbd996" providerId="ADAL" clId="{C0A9DA53-51E3-40D1-942D-6B4F3AB37088}" dt="2023-05-05T11:59:09.551" v="7581"/>
        <pc:sldMkLst>
          <pc:docMk/>
          <pc:sldMk cId="2674636311" sldId="2145706698"/>
        </pc:sldMkLst>
        <pc:spChg chg="mod">
          <ac:chgData name="Pukkio Saana" userId="1ab2a2d6-0d22-4696-97ae-bc3edbbbd996" providerId="ADAL" clId="{C0A9DA53-51E3-40D1-942D-6B4F3AB37088}" dt="2023-05-05T11:58:24.176" v="7461" actId="20577"/>
          <ac:spMkLst>
            <pc:docMk/>
            <pc:sldMk cId="2674636311" sldId="2145706698"/>
            <ac:spMk id="2" creationId="{BF716A5F-B486-AF4A-05F4-BD0AC8FEB35D}"/>
          </ac:spMkLst>
        </pc:spChg>
        <pc:spChg chg="mod">
          <ac:chgData name="Pukkio Saana" userId="1ab2a2d6-0d22-4696-97ae-bc3edbbbd996" providerId="ADAL" clId="{C0A9DA53-51E3-40D1-942D-6B4F3AB37088}" dt="2023-05-05T11:58:59.918" v="7579" actId="20577"/>
          <ac:spMkLst>
            <pc:docMk/>
            <pc:sldMk cId="2674636311" sldId="2145706698"/>
            <ac:spMk id="3" creationId="{1ADE828E-0EEE-9C94-E2B8-1E34E7359B79}"/>
          </ac:spMkLst>
        </pc:spChg>
      </pc:sldChg>
      <pc:sldMasterChg chg="delSldLayout">
        <pc:chgData name="Pukkio Saana" userId="1ab2a2d6-0d22-4696-97ae-bc3edbbbd996" providerId="ADAL" clId="{C0A9DA53-51E3-40D1-942D-6B4F3AB37088}" dt="2023-05-05T10:44:21.735" v="343" actId="47"/>
        <pc:sldMasterMkLst>
          <pc:docMk/>
          <pc:sldMasterMk cId="1620656494" sldId="2147483648"/>
        </pc:sldMasterMkLst>
        <pc:sldLayoutChg chg="del">
          <pc:chgData name="Pukkio Saana" userId="1ab2a2d6-0d22-4696-97ae-bc3edbbbd996" providerId="ADAL" clId="{C0A9DA53-51E3-40D1-942D-6B4F3AB37088}" dt="2023-05-05T10:44:21.735" v="343" actId="47"/>
          <pc:sldLayoutMkLst>
            <pc:docMk/>
            <pc:sldMasterMk cId="1620656494" sldId="2147483648"/>
            <pc:sldLayoutMk cId="1187386728" sldId="2147483798"/>
          </pc:sldLayoutMkLst>
        </pc:sldLayoutChg>
      </pc:sldMasterChg>
      <pc:sldMasterChg chg="delSldLayout">
        <pc:chgData name="Pukkio Saana" userId="1ab2a2d6-0d22-4696-97ae-bc3edbbbd996" providerId="ADAL" clId="{C0A9DA53-51E3-40D1-942D-6B4F3AB37088}" dt="2023-05-05T11:22:07.510" v="3554" actId="47"/>
        <pc:sldMasterMkLst>
          <pc:docMk/>
          <pc:sldMasterMk cId="1345731598" sldId="2147483724"/>
        </pc:sldMasterMkLst>
        <pc:sldLayoutChg chg="del">
          <pc:chgData name="Pukkio Saana" userId="1ab2a2d6-0d22-4696-97ae-bc3edbbbd996" providerId="ADAL" clId="{C0A9DA53-51E3-40D1-942D-6B4F3AB37088}" dt="2023-05-05T11:22:07.510" v="3554" actId="47"/>
          <pc:sldLayoutMkLst>
            <pc:docMk/>
            <pc:sldMasterMk cId="1345731598" sldId="2147483724"/>
            <pc:sldLayoutMk cId="1897450664" sldId="2147483854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err="1">
                <a:latin typeface="Poppins ExtraBold" panose="00000900000000000000" pitchFamily="2" charset="0"/>
                <a:cs typeface="Poppins ExtraBold" panose="00000900000000000000" pitchFamily="2" charset="0"/>
              </a:rPr>
              <a:t>Otsikko</a:t>
            </a:r>
            <a:endParaRPr lang="en-US">
              <a:latin typeface="Poppins ExtraBold" panose="00000900000000000000" pitchFamily="2" charset="0"/>
              <a:cs typeface="Poppins ExtraBold" panose="00000900000000000000" pitchFamily="2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B7-4791-A73E-4A68E1AE518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CB7-4791-A73E-4A68E1AE518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CB7-4791-A73E-4A68E1AE518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CB7-4791-A73E-4A68E1AE518C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Poppins ExtraBold" panose="00000900000000000000" pitchFamily="2" charset="0"/>
              <a:ea typeface="+mn-ea"/>
              <a:cs typeface="Poppins ExtraBold" panose="00000900000000000000" pitchFamily="2" charset="0"/>
            </a:defRPr>
          </a:pPr>
          <a:endParaRPr lang="fi-FI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11-4B94-9622-BFE5B72FC45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11-4B94-9622-BFE5B72FC45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11-4B94-9622-BFE5B72FC45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F11-4B94-9622-BFE5B72FC45B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73923376"/>
        <c:axId val="473925344"/>
      </c:barChart>
      <c:catAx>
        <c:axId val="473923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fi-FI"/>
          </a:p>
        </c:txPr>
        <c:crossAx val="473925344"/>
        <c:crosses val="autoZero"/>
        <c:auto val="1"/>
        <c:lblAlgn val="ctr"/>
        <c:lblOffset val="100"/>
        <c:noMultiLvlLbl val="0"/>
      </c:catAx>
      <c:valAx>
        <c:axId val="473925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73923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25D5B8-2C2D-40DB-9389-EACE7F1EB747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64957C-6A8A-46F7-A728-AFDDD6354C5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57796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728D0-16EF-4BE3-B2E3-7BACDBE86715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877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png"/><Relationship Id="rId4" Type="http://schemas.openxmlformats.org/officeDocument/2006/relationships/image" Target="../media/image3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pn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png"/><Relationship Id="rId4" Type="http://schemas.openxmlformats.org/officeDocument/2006/relationships/image" Target="../media/image3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png"/><Relationship Id="rId4" Type="http://schemas.openxmlformats.org/officeDocument/2006/relationships/image" Target="../media/image3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png"/><Relationship Id="rId4" Type="http://schemas.openxmlformats.org/officeDocument/2006/relationships/image" Target="../media/image3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png"/><Relationship Id="rId4" Type="http://schemas.openxmlformats.org/officeDocument/2006/relationships/image" Target="../media/image3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png"/><Relationship Id="rId4" Type="http://schemas.openxmlformats.org/officeDocument/2006/relationships/image" Target="../media/image3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ääotsikko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GB" err="1"/>
              <a:t>Pää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Alaotsikko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7D8F48-80E4-A765-F4AF-77C6CCE8DA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060"/>
            <a:ext cx="3645475" cy="308997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B3CA8BA-29E9-1090-9CBE-5A15B6E599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4395" y="6057899"/>
            <a:ext cx="3153982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308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2 sisältöä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768C3-6EB9-6743-AC88-831836BB31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965" y="535510"/>
            <a:ext cx="10260000" cy="1325563"/>
          </a:xfrm>
        </p:spPr>
        <p:txBody>
          <a:bodyPr/>
          <a:lstStyle/>
          <a:p>
            <a:r>
              <a:rPr lang="en-GB" err="1"/>
              <a:t>Otsikko</a:t>
            </a:r>
            <a:r>
              <a:rPr lang="en-GB"/>
              <a:t> 44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477188-4C97-0356-7DF2-5CA78CBAEB2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49965" y="2044747"/>
            <a:ext cx="5040000" cy="3949200"/>
          </a:xfrm>
        </p:spPr>
        <p:txBody>
          <a:bodyPr/>
          <a:lstStyle/>
          <a:p>
            <a:pPr lvl="0"/>
            <a:r>
              <a:rPr lang="fi-FI"/>
              <a:t>Leipäteksti 24 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A8AA96-BCAD-D7B4-CD4B-95EEA9E2346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9965" y="2044747"/>
            <a:ext cx="5040000" cy="3949200"/>
          </a:xfrm>
        </p:spPr>
        <p:txBody>
          <a:bodyPr/>
          <a:lstStyle/>
          <a:p>
            <a:pPr lvl="0"/>
            <a:r>
              <a:rPr lang="fi-FI"/>
              <a:t>Leipäteksti 24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130B1E-3D5F-52AB-3758-066135153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32CFB-8CF4-1C49-BC5F-593B5F3D3B14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0BCF05-0A19-9E5C-6745-C0AE338AB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latunnis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9903CC-51DA-7BB1-E970-8C6AF5265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B090-397C-D745-B26D-388A8603260D}" type="slidenum">
              <a:rPr lang="fi-FI" smtClean="0"/>
              <a:t>‹#›</a:t>
            </a:fld>
            <a:endParaRPr lang="fi-FI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C9F3143-0FB9-EF50-472D-D9B1626E11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395" y="6057899"/>
            <a:ext cx="3153982" cy="67827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457463A-54FC-CF42-30C1-20D81E5065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531008"/>
            <a:ext cx="730292" cy="61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6441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4CD8AB6-961E-567D-0B9E-A06B49291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70EAED3A-7E82-768A-1576-F88F3561C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CC2FB-75A0-4839-84E8-731E9CACE635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61ACF1FC-0C28-7F18-DC4A-2CC65BECA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6E24D906-E635-A0B5-15E3-2B9D322C00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F0E29-2536-4793-B0EC-EF5D6A44BE9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524977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C595681E-A2E9-482B-472D-D00B30E43B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CC2FB-75A0-4839-84E8-731E9CACE635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4FAD853B-C0C7-603A-DEC8-69E7955AE5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77140517-9D1E-7776-8A6A-A9AE6B1D9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F0E29-2536-4793-B0EC-EF5D6A44BE9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6178296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B10A044-ED4B-262D-5679-16F1D38ED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F98EB552-19DD-BCFE-2AEC-7948CB9478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2DD0CF2B-0F1C-4F74-DCE1-5CF67F9EF6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57FE3AD-21E3-844D-B4A9-141E4F63D7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CC2FB-75A0-4839-84E8-731E9CACE635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04B2AA81-C38A-24D3-0892-80D21A23F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EF86CFD2-A009-C0E1-9B07-6BFD5900D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F0E29-2536-4793-B0EC-EF5D6A44BE9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0627084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D62A0BE-0E0F-6605-57D1-145FB9BD6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7E9D8795-3840-0A69-9061-7446D76B30D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70902E70-576C-6F1B-4D9F-729C0598D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E3AAB933-4C6C-6E5A-95CE-9B6144C42F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CC2FB-75A0-4839-84E8-731E9CACE635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31C84E61-125B-3350-34A0-C6492ED60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DCB84174-4D31-D33D-7E20-AB36ECB4A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F0E29-2536-4793-B0EC-EF5D6A44BE9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0341959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049AB45-7171-5D7F-0220-8761FFCC9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63EA88AE-0E77-E017-DE3A-6331E5AE76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EBE8019F-B358-B353-8FB1-21C0AD43D4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CC2FB-75A0-4839-84E8-731E9CACE635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4CAB4083-46F8-8BB0-B7A1-3A15A2ECC9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E764AABA-567F-088B-AE3A-E4DC458B5E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F0E29-2536-4793-B0EC-EF5D6A44BE9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543689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>
            <a:extLst>
              <a:ext uri="{FF2B5EF4-FFF2-40B4-BE49-F238E27FC236}">
                <a16:creationId xmlns:a16="http://schemas.microsoft.com/office/drawing/2014/main" id="{DDE16B95-2A61-69C5-8FCF-2CA1985F47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9DA72F3E-1501-8B8E-CFDA-EC48CDD795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E9F6590-8D65-6B6D-CB4C-6F60390D00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CC2FB-75A0-4839-84E8-731E9CACE635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3F8E766-E6DF-4DA7-0AC9-1AD060970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1E28A679-5C80-2CE5-4D81-28D5CD27DF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F0E29-2536-4793-B0EC-EF5D6A44BE9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7360116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_ranskalaiset_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24539" y="6257749"/>
            <a:ext cx="945718" cy="365125"/>
          </a:xfrm>
        </p:spPr>
        <p:txBody>
          <a:bodyPr/>
          <a:lstStyle/>
          <a:p>
            <a:fld id="{CCE76DBD-9ABD-401A-ACC4-8E3C979D470F}" type="datetime1">
              <a:rPr lang="fi-FI" smtClean="0"/>
              <a:t>5.5.2023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539525-7551-48F7-8D8F-A020ECBC3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B766A24-A8D9-4DFA-BA8B-3E0D6E55AD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8059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oitusruutu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FAA00-08CB-4D42-BC42-5FD10B8E1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D43059-99C1-4944-9656-B1D921B30889}" type="datetime1">
              <a:rPr lang="fi-FI" smtClean="0"/>
              <a:t>5.5.2023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B36D59-2219-4745-8866-3C10FB77AB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5469C93-8108-497E-AE09-69B91A1ABF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EFA9397-4EC2-428C-8028-EC8F9418B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7042E8DA-BDAD-400E-B10D-5DDB2028D5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5960C26-0006-4CDB-BFA6-EED7F960FBB8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633F30-81AA-4E31-B02C-5D35D29203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060"/>
            <a:ext cx="3645475" cy="3089974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4022C-4631-4B82-ABDB-2F2B7E388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10010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_perus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6CF40-C63D-4563-8757-6DC4E6BF2D21}" type="datetime1">
              <a:rPr lang="fi-FI" smtClean="0"/>
              <a:t>5.5.2023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FA8EAF9-11C2-4317-B287-93C13C547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F52C2CD-20CF-4F2D-8C05-1ADF71215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BE2601-7626-456C-A31B-5113E25B1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05825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2 sisältöä tumman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768C3-6EB9-6743-AC88-831836BB31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965" y="535510"/>
            <a:ext cx="10260000" cy="1325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err="1"/>
              <a:t>Otsikko</a:t>
            </a:r>
            <a:r>
              <a:rPr lang="en-GB"/>
              <a:t> 44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477188-4C97-0356-7DF2-5CA78CBAEB2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49965" y="2044747"/>
            <a:ext cx="5040000" cy="394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/>
              <a:t>Leipäteksti 24 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A8AA96-BCAD-D7B4-CD4B-95EEA9E2346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9965" y="2044747"/>
            <a:ext cx="5040000" cy="394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/>
              <a:t>Leipäteksti 24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130B1E-3D5F-52AB-3758-066135153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32CFB-8CF4-1C49-BC5F-593B5F3D3B14}" type="datetimeFigureOut">
              <a:rPr lang="fi-FI" smtClean="0"/>
              <a:pPr/>
              <a:t>5.5.2023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0BCF05-0A19-9E5C-6745-C0AE338AB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Alatunnis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9903CC-51DA-7BB1-E970-8C6AF5265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FF9B090-397C-D745-B26D-388A8603260D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EFF6797-BDE6-863A-A62C-4E38AF772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8" y="531007"/>
            <a:ext cx="734764" cy="622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DE0AC6B-2D35-1EFF-B06E-E3E45F84D5E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8443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tsikko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34974-F3A3-AA28-578C-E88E992F8F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err="1"/>
              <a:t>Otsikko</a:t>
            </a:r>
            <a:r>
              <a:rPr lang="en-GB"/>
              <a:t> 44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7F12E1-C23C-F2BF-89C3-3E2FCC8A96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32CFB-8CF4-1C49-BC5F-593B5F3D3B14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270F59-9E54-9B06-629F-7559DD5B8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latunnis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BE5749-5EB2-9037-9EE8-37A3F0DA3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B090-397C-D745-B26D-388A8603260D}" type="slidenum">
              <a:rPr lang="fi-FI" smtClean="0"/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C4B65E-4FB4-816D-3ABF-6C0E80D890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395" y="6057899"/>
            <a:ext cx="3153982" cy="6782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3AF51BF-8436-ED13-927D-993DD2CDB6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531008"/>
            <a:ext cx="730292" cy="61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185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tsikko tumman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34974-F3A3-AA28-578C-E88E992F8F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err="1"/>
              <a:t>Otsikko</a:t>
            </a:r>
            <a:r>
              <a:rPr lang="en-GB"/>
              <a:t> 44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7F12E1-C23C-F2BF-89C3-3E2FCC8A96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32CFB-8CF4-1C49-BC5F-593B5F3D3B14}" type="datetimeFigureOut">
              <a:rPr lang="fi-FI" smtClean="0"/>
              <a:pPr/>
              <a:t>5.5.2023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270F59-9E54-9B06-629F-7559DD5B8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Alatunnis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BE5749-5EB2-9037-9EE8-37A3F0DA3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FF9B090-397C-D745-B26D-388A8603260D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659325B-759F-4951-3A3C-7BA7DC8A47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8" y="531007"/>
            <a:ext cx="734764" cy="6228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A71483-AD90-EFAE-2519-E6DDAD13AA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1913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 ja media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40A0A-E524-DB46-446B-C33C0FC68F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965" y="535510"/>
            <a:ext cx="4168800" cy="154281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err="1"/>
              <a:t>Otsikko</a:t>
            </a:r>
            <a:r>
              <a:rPr lang="en-GB"/>
              <a:t> 32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621358-7E6C-198B-1435-CD75CCB742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95165" y="535510"/>
            <a:ext cx="5914800" cy="5495107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err="1"/>
              <a:t>Tila</a:t>
            </a:r>
            <a:r>
              <a:rPr lang="en-GB"/>
              <a:t> </a:t>
            </a:r>
            <a:r>
              <a:rPr lang="en-GB" err="1"/>
              <a:t>taulukolle</a:t>
            </a:r>
            <a:r>
              <a:rPr lang="en-GB"/>
              <a:t>, </a:t>
            </a:r>
            <a:r>
              <a:rPr lang="en-GB" err="1"/>
              <a:t>graafille</a:t>
            </a:r>
            <a:r>
              <a:rPr lang="en-GB"/>
              <a:t>, </a:t>
            </a:r>
            <a:br>
              <a:rPr lang="en-GB"/>
            </a:br>
            <a:r>
              <a:rPr lang="en-GB" err="1"/>
              <a:t>kuvalle</a:t>
            </a:r>
            <a:r>
              <a:rPr lang="en-GB"/>
              <a:t> tai </a:t>
            </a:r>
            <a:r>
              <a:rPr lang="en-GB" err="1"/>
              <a:t>videolle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9C60D2-ED85-174E-1EB2-B93D65A7AC7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9965" y="2235850"/>
            <a:ext cx="4168800" cy="377306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err="1"/>
              <a:t>Leipäteksti</a:t>
            </a:r>
            <a:r>
              <a:rPr lang="en-GB"/>
              <a:t> 24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479992-5258-FE36-934D-C9DB69AF6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32CFB-8CF4-1C49-BC5F-593B5F3D3B14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F43C1A-9B54-9EFC-0AC8-5E354885D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latunnis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57243D-E47C-20CA-1BF5-76A83AB52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B090-397C-D745-B26D-388A8603260D}" type="slidenum">
              <a:rPr lang="fi-FI" smtClean="0"/>
              <a:t>‹#›</a:t>
            </a:fld>
            <a:endParaRPr lang="fi-FI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23EE3F-5792-C453-AA55-3A36CC10AC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395" y="6057899"/>
            <a:ext cx="3153982" cy="67827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10AE0C6-395A-88FB-ADCA-F29353B3FB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531008"/>
            <a:ext cx="730292" cy="61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057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 ja media tumman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40A0A-E524-DB46-446B-C33C0FC68F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965" y="535510"/>
            <a:ext cx="4168800" cy="1542819"/>
          </a:xfrm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Otsikko</a:t>
            </a:r>
            <a:r>
              <a:rPr lang="en-GB"/>
              <a:t> 32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621358-7E6C-198B-1435-CD75CCB742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95165" y="535510"/>
            <a:ext cx="5914800" cy="5495107"/>
          </a:xfr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err="1"/>
              <a:t>Tila</a:t>
            </a:r>
            <a:r>
              <a:rPr lang="en-GB"/>
              <a:t> </a:t>
            </a:r>
            <a:r>
              <a:rPr lang="en-GB" err="1"/>
              <a:t>taulukolle</a:t>
            </a:r>
            <a:r>
              <a:rPr lang="en-GB"/>
              <a:t>, </a:t>
            </a:r>
            <a:r>
              <a:rPr lang="en-GB" err="1"/>
              <a:t>graafille</a:t>
            </a:r>
            <a:r>
              <a:rPr lang="en-GB"/>
              <a:t>, </a:t>
            </a:r>
            <a:br>
              <a:rPr lang="en-GB"/>
            </a:br>
            <a:r>
              <a:rPr lang="en-GB" err="1"/>
              <a:t>kuvalle</a:t>
            </a:r>
            <a:r>
              <a:rPr lang="en-GB"/>
              <a:t> tai </a:t>
            </a:r>
            <a:r>
              <a:rPr lang="en-GB" err="1"/>
              <a:t>videolle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9C60D2-ED85-174E-1EB2-B93D65A7AC7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9965" y="2235850"/>
            <a:ext cx="4168800" cy="377306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err="1"/>
              <a:t>Leipäteksti</a:t>
            </a:r>
            <a:r>
              <a:rPr lang="en-GB"/>
              <a:t> 24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479992-5258-FE36-934D-C9DB69AF6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32CFB-8CF4-1C49-BC5F-593B5F3D3B14}" type="datetimeFigureOut">
              <a:rPr lang="fi-FI" smtClean="0"/>
              <a:pPr/>
              <a:t>5.5.2023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F43C1A-9B54-9EFC-0AC8-5E354885D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Alatunnis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57243D-E47C-20CA-1BF5-76A83AB52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FF9B090-397C-D745-B26D-388A8603260D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950044B-8DDC-20DA-A3D0-209641B552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8" y="531007"/>
            <a:ext cx="734764" cy="622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5D8EA6-A6CF-9F2F-5390-64645DC837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8552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 ja media 2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621358-7E6C-198B-1435-CD75CCB742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965" y="535510"/>
            <a:ext cx="5914800" cy="5495107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err="1"/>
              <a:t>Tila</a:t>
            </a:r>
            <a:r>
              <a:rPr lang="en-GB"/>
              <a:t> </a:t>
            </a:r>
            <a:r>
              <a:rPr lang="en-GB" err="1"/>
              <a:t>taulukolle</a:t>
            </a:r>
            <a:r>
              <a:rPr lang="en-GB"/>
              <a:t>, </a:t>
            </a:r>
            <a:r>
              <a:rPr lang="en-GB" err="1"/>
              <a:t>graafille</a:t>
            </a:r>
            <a:r>
              <a:rPr lang="en-GB"/>
              <a:t>, </a:t>
            </a:r>
            <a:br>
              <a:rPr lang="en-GB"/>
            </a:br>
            <a:r>
              <a:rPr lang="en-GB" err="1"/>
              <a:t>kuvalle</a:t>
            </a:r>
            <a:r>
              <a:rPr lang="en-GB"/>
              <a:t> tai </a:t>
            </a:r>
            <a:r>
              <a:rPr lang="en-GB" err="1"/>
              <a:t>videolle</a:t>
            </a:r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A40A0A-E524-DB46-446B-C33C0FC68F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1165" y="535510"/>
            <a:ext cx="4168800" cy="154281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err="1"/>
              <a:t>Otsikko</a:t>
            </a:r>
            <a:r>
              <a:rPr lang="en-GB"/>
              <a:t> 32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9C60D2-ED85-174E-1EB2-B93D65A7AC7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641165" y="2235850"/>
            <a:ext cx="4168800" cy="377306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err="1"/>
              <a:t>Leipäteksti</a:t>
            </a:r>
            <a:r>
              <a:rPr lang="en-GB"/>
              <a:t> 24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479992-5258-FE36-934D-C9DB69AF6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32CFB-8CF4-1C49-BC5F-593B5F3D3B14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F43C1A-9B54-9EFC-0AC8-5E354885D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latunnis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57243D-E47C-20CA-1BF5-76A83AB52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B090-397C-D745-B26D-388A8603260D}" type="slidenum">
              <a:rPr lang="fi-FI" smtClean="0"/>
              <a:t>‹#›</a:t>
            </a:fld>
            <a:endParaRPr lang="fi-FI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23EE3F-5792-C453-AA55-3A36CC10AC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395" y="6057899"/>
            <a:ext cx="3153982" cy="67827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10AE0C6-395A-88FB-ADCA-F29353B3FB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531008"/>
            <a:ext cx="730292" cy="61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99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 ja media 2 tumman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621358-7E6C-198B-1435-CD75CCB742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965" y="535510"/>
            <a:ext cx="5914800" cy="5495107"/>
          </a:xfr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800">
                <a:solidFill>
                  <a:schemeClr val="tx1"/>
                </a:solidFill>
              </a:defRPr>
            </a:lvl2pPr>
            <a:lvl3pPr marL="914400" indent="0" algn="ctr">
              <a:buNone/>
              <a:defRPr sz="2400">
                <a:solidFill>
                  <a:schemeClr val="tx1"/>
                </a:solidFill>
              </a:defRPr>
            </a:lvl3pPr>
            <a:lvl4pPr marL="1371600" indent="0" algn="ctr">
              <a:buNone/>
              <a:defRPr sz="2000">
                <a:solidFill>
                  <a:schemeClr val="tx1"/>
                </a:solidFill>
              </a:defRPr>
            </a:lvl4pPr>
            <a:lvl5pPr marL="1828800" indent="0" algn="ctr">
              <a:buNone/>
              <a:defRPr sz="2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err="1"/>
              <a:t>Tila</a:t>
            </a:r>
            <a:r>
              <a:rPr lang="en-GB"/>
              <a:t> </a:t>
            </a:r>
            <a:r>
              <a:rPr lang="en-GB" err="1"/>
              <a:t>taulukolle</a:t>
            </a:r>
            <a:r>
              <a:rPr lang="en-GB"/>
              <a:t>, </a:t>
            </a:r>
            <a:r>
              <a:rPr lang="en-GB" err="1"/>
              <a:t>graafille</a:t>
            </a:r>
            <a:r>
              <a:rPr lang="en-GB"/>
              <a:t>, </a:t>
            </a:r>
            <a:br>
              <a:rPr lang="en-GB"/>
            </a:br>
            <a:r>
              <a:rPr lang="en-GB" err="1"/>
              <a:t>kuvalle</a:t>
            </a:r>
            <a:r>
              <a:rPr lang="en-GB"/>
              <a:t> tai </a:t>
            </a:r>
            <a:r>
              <a:rPr lang="en-GB" err="1"/>
              <a:t>videolle</a:t>
            </a:r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A40A0A-E524-DB46-446B-C33C0FC68F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1165" y="535510"/>
            <a:ext cx="4168800" cy="1542819"/>
          </a:xfrm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Otsikko</a:t>
            </a:r>
            <a:r>
              <a:rPr lang="en-GB"/>
              <a:t> 32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9C60D2-ED85-174E-1EB2-B93D65A7AC7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641165" y="2235850"/>
            <a:ext cx="4168800" cy="3773064"/>
          </a:xfrm>
        </p:spPr>
        <p:txBody>
          <a:bodyPr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err="1"/>
              <a:t>Leipäteksti</a:t>
            </a:r>
            <a:r>
              <a:rPr lang="en-GB"/>
              <a:t> 24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479992-5258-FE36-934D-C9DB69AF6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32CFB-8CF4-1C49-BC5F-593B5F3D3B14}" type="datetimeFigureOut">
              <a:rPr lang="fi-FI" smtClean="0"/>
              <a:pPr/>
              <a:t>5.5.2023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F43C1A-9B54-9EFC-0AC8-5E354885D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Alatunnis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57243D-E47C-20CA-1BF5-76A83AB52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FF9B090-397C-D745-B26D-388A8603260D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81CDCAA-FFF1-4D78-535A-F3200262F6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8" y="531007"/>
            <a:ext cx="734764" cy="622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3E63CF4-7649-A128-BF76-E699CFB6B1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78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 ja kuva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40A0A-E524-DB46-446B-C33C0FC68F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965" y="535510"/>
            <a:ext cx="5432400" cy="154281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err="1"/>
              <a:t>Otsikko</a:t>
            </a:r>
            <a:r>
              <a:rPr lang="en-GB"/>
              <a:t> 32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9C60D2-ED85-174E-1EB2-B93D65A7AC7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9965" y="2235850"/>
            <a:ext cx="5432400" cy="377306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err="1"/>
              <a:t>Leipäteksti</a:t>
            </a:r>
            <a:r>
              <a:rPr lang="en-GB"/>
              <a:t> 24 </a:t>
            </a:r>
            <a:r>
              <a:rPr lang="en-GB" err="1"/>
              <a:t>pt</a:t>
            </a:r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23EE3F-5792-C453-AA55-3A36CC10AC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395" y="6057899"/>
            <a:ext cx="3153982" cy="678275"/>
          </a:xfrm>
          <a:prstGeom prst="rect">
            <a:avLst/>
          </a:prstGeom>
        </p:spPr>
      </p:pic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FCC8D104-7F84-C888-147D-E9BA71D739F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361113" y="0"/>
            <a:ext cx="5830887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</p:spTree>
    <p:extLst>
      <p:ext uri="{BB962C8B-B14F-4D97-AF65-F5344CB8AC3E}">
        <p14:creationId xmlns:p14="http://schemas.microsoft.com/office/powerpoint/2010/main" val="13440710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 ja kuva tumman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40A0A-E524-DB46-446B-C33C0FC68F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965" y="535510"/>
            <a:ext cx="5432400" cy="1542819"/>
          </a:xfrm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Otsikko</a:t>
            </a:r>
            <a:r>
              <a:rPr lang="en-GB"/>
              <a:t> 32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9C60D2-ED85-174E-1EB2-B93D65A7AC7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9965" y="2235850"/>
            <a:ext cx="5432400" cy="377306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err="1"/>
              <a:t>Leipäteksti</a:t>
            </a:r>
            <a:r>
              <a:rPr lang="en-GB"/>
              <a:t> 24 </a:t>
            </a:r>
            <a:r>
              <a:rPr lang="en-GB" err="1"/>
              <a:t>pt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65D8EA6-A6CF-9F2F-5390-64645DC837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918BCF9-AC30-9B84-E4CA-CDF3510AD3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361113" y="0"/>
            <a:ext cx="5830887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</p:spTree>
    <p:extLst>
      <p:ext uri="{BB962C8B-B14F-4D97-AF65-F5344CB8AC3E}">
        <p14:creationId xmlns:p14="http://schemas.microsoft.com/office/powerpoint/2010/main" val="16009009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ääotsikko tummanfuks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Pää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Alaotsikko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4" name="Picture 3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58FF77D-EBCA-7EE9-8B75-0C4F58C0CF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0FF06E3-2C64-A4A9-B462-9226AAD105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8384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533869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GB" err="1"/>
              <a:t>Väli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7D8F48-80E4-A765-F4AF-77C6CCE8DA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060"/>
            <a:ext cx="3645475" cy="308997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B3CA8BA-29E9-1090-9CBE-5A15B6E599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4395" y="6057899"/>
            <a:ext cx="3153982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4816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tummanfuks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533869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Väli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3" name="Picture 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0453A35-FB52-BE13-78F3-92B9E79A54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FD97E47-D446-A6B4-3014-4E2F273A69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5502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tumman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533869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Väli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3" name="Picture 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0453A35-FB52-BE13-78F3-92B9E79A54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FD97E47-D446-A6B4-3014-4E2F273A69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3699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vaaleanfuksi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533869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Väli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3" name="Picture 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0453A35-FB52-BE13-78F3-92B9E79A54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FD97E47-D446-A6B4-3014-4E2F273A69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6301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tummanvihreä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533869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Väli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3" name="Picture 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0453A35-FB52-BE13-78F3-92B9E79A54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FD97E47-D446-A6B4-3014-4E2F273A69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6799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vaaleansinin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533869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GB" err="1"/>
              <a:t>Väli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3CF214-76DA-68B4-2B4A-8177027A95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50902" y="2000187"/>
            <a:ext cx="3645548" cy="3092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D36BE2-B80E-CE08-EBD9-EEB35490D9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2284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vaaleanvihreä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533869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GB" err="1"/>
              <a:t>Väli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08CAA1-FDF5-EF53-A9B7-1D43206E86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50902" y="2000187"/>
            <a:ext cx="3645548" cy="3092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9CFA2B3-42F1-3C9E-A475-251BF4B38D6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188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atti tummanfuks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3305" y="2305269"/>
            <a:ext cx="10005391" cy="2387600"/>
          </a:xfrm>
        </p:spPr>
        <p:txBody>
          <a:bodyPr anchor="ctr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Sitaatti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FF06E3-2C64-A4A9-B462-9226AAD105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B95C3F12-A17C-1A93-6E3E-3C88A84951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8" y="531007"/>
            <a:ext cx="734764" cy="622800"/>
          </a:xfrm>
          <a:prstGeom prst="rect">
            <a:avLst/>
          </a:prstGeom>
        </p:spPr>
      </p:pic>
      <p:pic>
        <p:nvPicPr>
          <p:cNvPr id="11" name="Graphic 10" descr="Closed quotation mark">
            <a:extLst>
              <a:ext uri="{FF2B5EF4-FFF2-40B4-BE49-F238E27FC236}">
                <a16:creationId xmlns:a16="http://schemas.microsoft.com/office/drawing/2014/main" id="{0B99F234-C982-5135-C60F-C0E64484AD0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3" name="Graphic 12" descr="Closed quotation mark">
            <a:extLst>
              <a:ext uri="{FF2B5EF4-FFF2-40B4-BE49-F238E27FC236}">
                <a16:creationId xmlns:a16="http://schemas.microsoft.com/office/drawing/2014/main" id="{CC3E7231-C155-E693-61C9-9D04E77A39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294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atti tumman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3305" y="2305269"/>
            <a:ext cx="10005391" cy="2387600"/>
          </a:xfrm>
        </p:spPr>
        <p:txBody>
          <a:bodyPr anchor="ctr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Sitaatti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FF06E3-2C64-A4A9-B462-9226AAD105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B95C3F12-A17C-1A93-6E3E-3C88A84951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8" y="531007"/>
            <a:ext cx="734764" cy="622800"/>
          </a:xfrm>
          <a:prstGeom prst="rect">
            <a:avLst/>
          </a:prstGeom>
        </p:spPr>
      </p:pic>
      <p:pic>
        <p:nvPicPr>
          <p:cNvPr id="11" name="Graphic 10" descr="Closed quotation mark">
            <a:extLst>
              <a:ext uri="{FF2B5EF4-FFF2-40B4-BE49-F238E27FC236}">
                <a16:creationId xmlns:a16="http://schemas.microsoft.com/office/drawing/2014/main" id="{0B99F234-C982-5135-C60F-C0E64484AD0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3" name="Graphic 12" descr="Closed quotation mark">
            <a:extLst>
              <a:ext uri="{FF2B5EF4-FFF2-40B4-BE49-F238E27FC236}">
                <a16:creationId xmlns:a16="http://schemas.microsoft.com/office/drawing/2014/main" id="{CC3E7231-C155-E693-61C9-9D04E77A39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8724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atti vaaleanfuksi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3305" y="2305269"/>
            <a:ext cx="10005391" cy="2387600"/>
          </a:xfrm>
        </p:spPr>
        <p:txBody>
          <a:bodyPr anchor="ctr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Sitaatti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FF06E3-2C64-A4A9-B462-9226AAD105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B95C3F12-A17C-1A93-6E3E-3C88A84951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8" y="531007"/>
            <a:ext cx="734764" cy="622800"/>
          </a:xfrm>
          <a:prstGeom prst="rect">
            <a:avLst/>
          </a:prstGeom>
        </p:spPr>
      </p:pic>
      <p:pic>
        <p:nvPicPr>
          <p:cNvPr id="11" name="Graphic 10" descr="Closed quotation mark">
            <a:extLst>
              <a:ext uri="{FF2B5EF4-FFF2-40B4-BE49-F238E27FC236}">
                <a16:creationId xmlns:a16="http://schemas.microsoft.com/office/drawing/2014/main" id="{0B99F234-C982-5135-C60F-C0E64484AD0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3" name="Graphic 12" descr="Closed quotation mark">
            <a:extLst>
              <a:ext uri="{FF2B5EF4-FFF2-40B4-BE49-F238E27FC236}">
                <a16:creationId xmlns:a16="http://schemas.microsoft.com/office/drawing/2014/main" id="{CC3E7231-C155-E693-61C9-9D04E77A39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3684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ääotsikko tumman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Pää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Alaotsikko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4" name="Picture 3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58FF77D-EBCA-7EE9-8B75-0C4F58C0CF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6558DCE-9BD2-C6CA-871F-9F0E35BA9AC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984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atti tummanvihreä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3305" y="2305269"/>
            <a:ext cx="10005391" cy="2387600"/>
          </a:xfrm>
        </p:spPr>
        <p:txBody>
          <a:bodyPr anchor="ctr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Sitaatti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FF06E3-2C64-A4A9-B462-9226AAD105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B95C3F12-A17C-1A93-6E3E-3C88A84951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8" y="531007"/>
            <a:ext cx="734764" cy="622800"/>
          </a:xfrm>
          <a:prstGeom prst="rect">
            <a:avLst/>
          </a:prstGeom>
        </p:spPr>
      </p:pic>
      <p:pic>
        <p:nvPicPr>
          <p:cNvPr id="11" name="Graphic 10" descr="Closed quotation mark">
            <a:extLst>
              <a:ext uri="{FF2B5EF4-FFF2-40B4-BE49-F238E27FC236}">
                <a16:creationId xmlns:a16="http://schemas.microsoft.com/office/drawing/2014/main" id="{0B99F234-C982-5135-C60F-C0E64484AD0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3" name="Graphic 12" descr="Closed quotation mark">
            <a:extLst>
              <a:ext uri="{FF2B5EF4-FFF2-40B4-BE49-F238E27FC236}">
                <a16:creationId xmlns:a16="http://schemas.microsoft.com/office/drawing/2014/main" id="{CC3E7231-C155-E693-61C9-9D04E77A39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8938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atti vaaleansinin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3305" y="2305269"/>
            <a:ext cx="10005391" cy="2387600"/>
          </a:xfrm>
        </p:spPr>
        <p:txBody>
          <a:bodyPr anchor="ctr"/>
          <a:lstStyle>
            <a:lvl1pPr algn="ctr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GB" err="1"/>
              <a:t>Sitaatti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11" name="Graphic 10" descr="Closed quotation mark">
            <a:extLst>
              <a:ext uri="{FF2B5EF4-FFF2-40B4-BE49-F238E27FC236}">
                <a16:creationId xmlns:a16="http://schemas.microsoft.com/office/drawing/2014/main" id="{0B99F234-C982-5135-C60F-C0E64484AD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3" name="Graphic 12" descr="Closed quotation mark">
            <a:extLst>
              <a:ext uri="{FF2B5EF4-FFF2-40B4-BE49-F238E27FC236}">
                <a16:creationId xmlns:a16="http://schemas.microsoft.com/office/drawing/2014/main" id="{CC3E7231-C155-E693-61C9-9D04E77A3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BCDB52F-531F-239F-BE54-B44DE5EA80C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58080" y="531007"/>
            <a:ext cx="734202" cy="6228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F983DEC-CDA1-A7EB-63B2-BE23E16CDDB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44893" y="6057899"/>
            <a:ext cx="3152985" cy="67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0058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atti vaaleanvihreä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3305" y="2305269"/>
            <a:ext cx="10005391" cy="2387600"/>
          </a:xfrm>
        </p:spPr>
        <p:txBody>
          <a:bodyPr anchor="ctr"/>
          <a:lstStyle>
            <a:lvl1pPr algn="ctr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GB" err="1"/>
              <a:t>Sitaatti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11" name="Graphic 10" descr="Closed quotation mark">
            <a:extLst>
              <a:ext uri="{FF2B5EF4-FFF2-40B4-BE49-F238E27FC236}">
                <a16:creationId xmlns:a16="http://schemas.microsoft.com/office/drawing/2014/main" id="{0B99F234-C982-5135-C60F-C0E64484AD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3" name="Graphic 12" descr="Closed quotation mark">
            <a:extLst>
              <a:ext uri="{FF2B5EF4-FFF2-40B4-BE49-F238E27FC236}">
                <a16:creationId xmlns:a16="http://schemas.microsoft.com/office/drawing/2014/main" id="{CC3E7231-C155-E693-61C9-9D04E77A3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BCDB52F-531F-239F-BE54-B44DE5EA80C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58080" y="531007"/>
            <a:ext cx="734202" cy="6228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F983DEC-CDA1-A7EB-63B2-BE23E16CDDB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44893" y="6057899"/>
            <a:ext cx="3152985" cy="67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3991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itos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GB" err="1"/>
              <a:t>Tähän</a:t>
            </a:r>
            <a:r>
              <a:rPr lang="en-GB"/>
              <a:t> </a:t>
            </a:r>
            <a:r>
              <a:rPr lang="en-GB" err="1"/>
              <a:t>kiitos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Nimi</a:t>
            </a:r>
            <a:r>
              <a:rPr lang="en-GB"/>
              <a:t>, </a:t>
            </a:r>
            <a:r>
              <a:rPr lang="en-GB" err="1"/>
              <a:t>yhteystiedot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7D8F48-80E4-A765-F4AF-77C6CCE8DA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060"/>
            <a:ext cx="3645475" cy="308997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B3CA8BA-29E9-1090-9CBE-5A15B6E599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4395" y="6057899"/>
            <a:ext cx="3153982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2394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iitos tummanfuks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Tähän</a:t>
            </a:r>
            <a:r>
              <a:rPr lang="en-GB"/>
              <a:t> </a:t>
            </a:r>
            <a:r>
              <a:rPr lang="en-GB" err="1"/>
              <a:t>kiitos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Nimi</a:t>
            </a:r>
            <a:r>
              <a:rPr lang="en-GB"/>
              <a:t>, </a:t>
            </a:r>
            <a:r>
              <a:rPr lang="en-GB" err="1"/>
              <a:t>yhteystiedot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4" name="Picture 3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58FF77D-EBCA-7EE9-8B75-0C4F58C0CF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0FF06E3-2C64-A4A9-B462-9226AAD105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2622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iitos tumman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Tähän</a:t>
            </a:r>
            <a:r>
              <a:rPr lang="en-GB"/>
              <a:t> </a:t>
            </a:r>
            <a:r>
              <a:rPr lang="en-GB" err="1"/>
              <a:t>kiitos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Nimi</a:t>
            </a:r>
            <a:r>
              <a:rPr lang="en-GB"/>
              <a:t>, </a:t>
            </a:r>
            <a:r>
              <a:rPr lang="en-GB" err="1"/>
              <a:t>yhteystiedot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4" name="Picture 3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58FF77D-EBCA-7EE9-8B75-0C4F58C0CF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6558DCE-9BD2-C6CA-871F-9F0E35BA9AC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0262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iitos vaaleanfuksi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Tähän</a:t>
            </a:r>
            <a:r>
              <a:rPr lang="en-GB"/>
              <a:t> </a:t>
            </a:r>
            <a:r>
              <a:rPr lang="en-GB" err="1"/>
              <a:t>kiitos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Nimi</a:t>
            </a:r>
            <a:r>
              <a:rPr lang="en-GB"/>
              <a:t>, </a:t>
            </a:r>
            <a:r>
              <a:rPr lang="en-GB" err="1"/>
              <a:t>yhteystiedot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4" name="Picture 3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58FF77D-EBCA-7EE9-8B75-0C4F58C0CF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FDA1A7E-C5B1-B0C8-789C-F249ED9BD3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942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iitos tummanvihreä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Tähän</a:t>
            </a:r>
            <a:r>
              <a:rPr lang="en-GB"/>
              <a:t> </a:t>
            </a:r>
            <a:r>
              <a:rPr lang="en-GB" err="1"/>
              <a:t>kiitos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Nimi</a:t>
            </a:r>
            <a:r>
              <a:rPr lang="en-GB"/>
              <a:t>, </a:t>
            </a:r>
            <a:r>
              <a:rPr lang="en-GB" err="1"/>
              <a:t>yhteystiedot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4" name="Picture 3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58FF77D-EBCA-7EE9-8B75-0C4F58C0CF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E07437-639A-BD38-D638-3F7C77820D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6374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iitos vaaleansinin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GB" err="1"/>
              <a:t>Tähän</a:t>
            </a:r>
            <a:r>
              <a:rPr lang="en-GB"/>
              <a:t> </a:t>
            </a:r>
            <a:r>
              <a:rPr lang="en-GB" err="1"/>
              <a:t>kiitos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Nimi</a:t>
            </a:r>
            <a:r>
              <a:rPr lang="en-GB"/>
              <a:t>, </a:t>
            </a:r>
            <a:r>
              <a:rPr lang="en-GB" err="1"/>
              <a:t>yhteystiedot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54D366-ADB9-F81C-F3A9-0FE8B600B0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50902" y="2000187"/>
            <a:ext cx="3645548" cy="3092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8D32133-2774-9DDD-71BA-3A2DD7774E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2021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iitos vaaleanvihreä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GB" err="1"/>
              <a:t>Tähän</a:t>
            </a:r>
            <a:r>
              <a:rPr lang="en-GB"/>
              <a:t> </a:t>
            </a:r>
            <a:r>
              <a:rPr lang="en-GB" err="1"/>
              <a:t>kiitos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Nimi</a:t>
            </a:r>
            <a:r>
              <a:rPr lang="en-GB"/>
              <a:t>, </a:t>
            </a:r>
            <a:r>
              <a:rPr lang="en-GB" err="1"/>
              <a:t>yhteystiedot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6E8D17-302F-2708-9A0F-82CA796E9E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50902" y="2000187"/>
            <a:ext cx="3645548" cy="3092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A132C5A-86DF-8300-B725-365FF5BB1A7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9224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ääotsikko vaaleanfuksi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Pää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Alaotsikko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4" name="Picture 3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58FF77D-EBCA-7EE9-8B75-0C4F58C0CF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FDA1A7E-C5B1-B0C8-789C-F249ED9BD3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6015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FAA00-08CB-4D42-BC42-5FD10B8E1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D43059-99C1-4944-9656-B1D921B30889}" type="datetime1">
              <a:rPr lang="fi-FI" smtClean="0"/>
              <a:t>5.5.2023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B36D59-2219-4745-8866-3C10FB77AB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5469C93-8108-497E-AE09-69B91A1ABF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EFA9397-4EC2-428C-8028-EC8F9418B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7042E8DA-BDAD-400E-B10D-5DDB2028D5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5960C26-0006-4CDB-BFA6-EED7F960FBB8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633F30-81AA-4E31-B02C-5D35D29203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060"/>
            <a:ext cx="3645475" cy="3089974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4022C-4631-4B82-ABDB-2F2B7E388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798116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3DB6CCF-4A6C-4CF2-81A9-169BDCA233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31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6613919-E40D-4E1C-91AE-4EC0629995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25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240283-3B0C-4D0D-BE44-5667AE81A5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74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46688D-317B-46E6-8381-0BFD0E9AEE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411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562931-1CE2-4D82-AD64-F416F6FD37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35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74BE6B3-307D-41F0-B2A8-C4BA8B7F39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0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C03B558-6B57-4598-B3E8-8733F4936D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/>
          <a:p>
            <a:fld id="{54D43059-99C1-4944-9656-B1D921B30889}" type="datetime1">
              <a:rPr lang="fi-FI" smtClean="0"/>
              <a:t>5.5.2023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D928AD-5ED4-4BF6-839E-DB314089D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890241-FB3C-4BAC-8DB3-B8C212506C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0014D83-E6A2-42CD-93B8-2757E8E6A3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6" name="Picture 1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AB84055-9B6F-4667-A415-4141BF2F68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471F456E-EC89-42DF-8E0F-AF14097D32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994" y="1686720"/>
            <a:ext cx="3649916" cy="347472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B27861D-71CD-4784-A6DE-E6BC1DB56222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244C952-ACC9-4870-B87B-DE9F734AC3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211316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5D0F3E8B-B9D6-401B-89DB-DECA733FA2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D2C8CA8-8603-41A4-9DD3-10B8144817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72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Aloitusruutu_tumma_fuksia_kuvio">
    <p:bg>
      <p:bgPr>
        <a:gradFill>
          <a:gsLst>
            <a:gs pos="0">
              <a:schemeClr val="accent6">
                <a:lumMod val="75000"/>
              </a:schemeClr>
            </a:gs>
            <a:gs pos="68000">
              <a:srgbClr val="DE0079"/>
            </a:gs>
            <a:gs pos="36000">
              <a:srgbClr val="E6007E"/>
            </a:gs>
            <a:gs pos="100000">
              <a:schemeClr val="accent6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</a:schemeClr>
              </a:gs>
              <a:gs pos="63000">
                <a:srgbClr val="DE0079"/>
              </a:gs>
              <a:gs pos="44000">
                <a:srgbClr val="E6007E"/>
              </a:gs>
              <a:gs pos="100000">
                <a:schemeClr val="accent5">
                  <a:lumMod val="7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2C8CA8-8603-41A4-9DD3-10B814481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ääotsikko tummanvihreä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Pää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Alaotsikko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4" name="Picture 3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58FF77D-EBCA-7EE9-8B75-0C4F58C0CF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E07437-639A-BD38-D638-3F7C77820D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2112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14FCAC9C-93C3-4BF3-AA69-FB92EE27B6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6353A0D-6841-4B42-BD5B-AC1A73F1AE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48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81566161-9E2C-4A0C-B626-D0B4BE1F3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4DEC7E-5326-4131-9336-902152B25D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857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2E69FE4-0D14-42F3-8ED8-B83ACA2DCA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B987F8-229E-46EB-8188-78F976D74A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11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339BBCE-72EB-4416-82B5-95E4D23ADF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1C5F59-1A73-4A2D-ACD6-B8171302A2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76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D8FE91E8-160A-4795-8140-A27E90907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35B6EE-4BD2-4FA8-B567-08DB7C3DC8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55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ranskalaiset_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24539" y="6257749"/>
            <a:ext cx="945718" cy="365125"/>
          </a:xfrm>
        </p:spPr>
        <p:txBody>
          <a:bodyPr/>
          <a:lstStyle/>
          <a:p>
            <a:fld id="{CCE76DBD-9ABD-401A-ACC4-8E3C979D470F}" type="datetime1">
              <a:rPr lang="fi-FI" smtClean="0"/>
              <a:t>5.5.2023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539525-7551-48F7-8D8F-A020ECBC3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B766A24-A8D9-4DFA-BA8B-3E0D6E55AD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245862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_ranskalaiset_viivat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5B1E6AE-7991-4811-B577-296CC00A00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D9F2CD-E67A-48D8-85FB-E255AB0F44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8EA296CD-E0BD-4577-BBD9-E7A21CDFDC56}" type="datetime1">
              <a:rPr lang="fi-FI" smtClean="0"/>
              <a:pPr/>
              <a:t>5.5.2023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143DAC5-3469-4AA9-93A1-540B07AA9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377B993-D7C1-4A56-8EFB-3F16258CA5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8F563A7-F7AD-4616-9D1D-1AE82E267D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16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6CF40-C63D-4563-8757-6DC4E6BF2D21}" type="datetime1">
              <a:rPr lang="fi-FI" smtClean="0"/>
              <a:t>5.5.2023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FA8EAF9-11C2-4317-B287-93C13C547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F52C2CD-20CF-4F2D-8C05-1ADF71215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BE2601-7626-456C-A31B-5113E25B1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892398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_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D2F3555-CD9C-4A92-8B27-541D98696F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9BE8E40-DB24-4417-9B9F-DD455E75B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2909738-C33F-4A34-AAC5-D8CC68D572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D361B35F-DECC-405A-82A1-D429BC581D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BC13E34C-B036-4245-917E-99D28939B3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8EA296CD-E0BD-4577-BBD9-E7A21CDFDC56}" type="datetime1">
              <a:rPr lang="fi-FI" smtClean="0"/>
              <a:pPr/>
              <a:t>5.5.2023</a:t>
            </a:fld>
            <a:endParaRPr lang="fi-FI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D950A81C-68BB-4D18-9483-4D08863A3F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1CC7B966-876A-403D-8087-11DB5C27E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DF9320C-73B2-4D2C-8217-5358A9F1F2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340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ranskalaiset-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E38DE-4805-4D44-9515-01E7263DA904}" type="datetime1">
              <a:rPr lang="fi-FI" smtClean="0"/>
              <a:t>5.5.2023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A6BCEC4-81A3-42F5-B62D-4067B34C561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9AF520A-DFB6-46AA-A90E-73856CB6FBB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8DAE261-03D8-472D-B14F-C1DF423A7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919310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ääotsikko vaaleansinin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GB" err="1"/>
              <a:t>Pää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Alaotsikko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54D366-ADB9-F81C-F3A9-0FE8B600B0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50902" y="2000187"/>
            <a:ext cx="3645548" cy="3092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8D32133-2774-9DDD-71BA-3A2DD7774E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9615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94D4C2-B25A-4281-8A5B-F03DB99CFAB5}" type="datetime1">
              <a:rPr lang="fi-FI" smtClean="0"/>
              <a:t>5.5.2023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A0A1FC-CD35-4C4A-8830-0BF62F3966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265E24-119F-4E75-B1BC-37B74F31F78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2242108-567E-4E86-8B9F-64DA7D572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14658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BFC5D1-A434-41C0-A0AC-FA8C98998B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0B1729-6068-4313-B10B-F87937706A72}" type="datetime1">
              <a:rPr lang="fi-FI" smtClean="0"/>
              <a:t>5.5.2023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A87B9-8B1F-4CE1-B8BD-8B9631551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378340-C080-47C5-983F-3EEBF0D75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074EB3E-6D1F-4DA0-B8DD-662308A06C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1F1CEFC-91A9-4473-A413-6D4A96A9F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76578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aliotsikko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5B7F77-A7E2-4A93-AF37-79AB665217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B7582F-B7A6-4B6B-AF59-21885C1D6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19DD4A-F530-4694-A831-4C3DFA62E2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3F4A4EE-00AB-4282-8B80-FFBD6A5975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0D9044F-FCBB-4029-9E23-FDB769B471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13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CDCB01C-A9CF-445C-9A1A-5DF3BC0618D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D7BD377-A4BF-474C-8BF1-1CBA4AFD4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7CFCA1B-A982-4A80-B70C-437B77980F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BAD7213B-62A6-4498-8992-D0679296D3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039C038-5957-40E0-B1CF-CFF1D573AE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02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F15C473-637B-4F74-89B6-7827FF4848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837C24-9D16-44F1-9A88-B5B4D6429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09BF18D-EBB2-47F4-A616-B0540DA6F8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050A66B-6ABF-42AA-92F8-DD58BCB477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798B9D-FEAE-4ECD-B0F4-4094482A86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825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0DAA0E-1818-42FF-BB6C-93FD419E17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33585F5-0AE9-47A4-B6C9-1F5AA8AF39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E078013-D062-4B74-BDD1-A7B1B92076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4AA073B5-0C86-430C-876B-7CC72F534E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0000DCB-7161-46F8-98A1-B14A12FA31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37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019E351-BD38-4277-ACBC-BAB6F0B4ED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AEBCB3B-E258-4D1D-BC07-970AA3335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31E5CBF-528D-4C27-BD3D-52A728543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B4ABDF5-105C-4805-AE9A-307C01A7B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3588A0-7B6A-460B-9E61-0B1E3C34B5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682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31C4A3-3B70-473F-87DC-97F62378B2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EC2ADAF-8754-4CBB-B2D1-1331D17D2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57B995B-39BF-44D4-988C-8C346A16C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B8B122C-4305-4D0B-A2FA-D71C3E41AA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14AF265-CBF7-48D7-9C80-7B57889C64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49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A6D2B3-6CFD-4112-84D9-A30F70531994}"/>
              </a:ext>
            </a:extLst>
          </p:cNvPr>
          <p:cNvSpPr txBox="1"/>
          <p:nvPr userDrawn="1"/>
        </p:nvSpPr>
        <p:spPr>
          <a:xfrm>
            <a:off x="607595" y="6257749"/>
            <a:ext cx="104472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i-FI" sz="1200">
                <a:solidFill>
                  <a:srgbClr val="FF0000"/>
                </a:solidFill>
              </a:rPr>
              <a:t>LUOTTAMUKSELLINEN LUONNOS FUUSIOJOHTAJIEN KOMMENTOINTIA VARTEN</a:t>
            </a:r>
          </a:p>
          <a:p>
            <a:pPr algn="r"/>
            <a:r>
              <a:rPr lang="fi-FI" sz="1200">
                <a:solidFill>
                  <a:srgbClr val="FF0000"/>
                </a:solidFill>
              </a:rPr>
              <a:t>YKSIKÖIDEN MÄÄRÄT JA NIIDEN VAKANSSILUVUT ELÄVÄT VIELÄ</a:t>
            </a:r>
          </a:p>
        </p:txBody>
      </p:sp>
    </p:spTree>
    <p:extLst>
      <p:ext uri="{BB962C8B-B14F-4D97-AF65-F5344CB8AC3E}">
        <p14:creationId xmlns:p14="http://schemas.microsoft.com/office/powerpoint/2010/main" val="237827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60E5C-EBDA-4D35-835F-C4EA74A72D71}" type="datetime1">
              <a:rPr lang="fi-FI" smtClean="0"/>
              <a:t>5.5.2023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F2D2C7BF-71D4-48BF-9DD2-FE65AF4A26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90" y="812800"/>
            <a:ext cx="5496219" cy="523240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E94213E-8A70-4CDD-9D43-D0A90C3E1C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381998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ääotsikko vaaleanvihreä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9622C-145D-4ABD-A87E-FDE91D3CC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470382"/>
            <a:ext cx="7158644" cy="2387600"/>
          </a:xfrm>
        </p:spPr>
        <p:txBody>
          <a:bodyPr anchor="b"/>
          <a:lstStyle>
            <a:lvl1pPr algn="l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GB" err="1"/>
              <a:t>Pääotsikko</a:t>
            </a:r>
            <a:r>
              <a:rPr lang="en-GB"/>
              <a:t> 60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59A345-FC67-CD99-307C-D1D12E9D4E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049485"/>
            <a:ext cx="7158644" cy="155633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Alaotsikko</a:t>
            </a:r>
            <a:r>
              <a:rPr lang="en-GB"/>
              <a:t> 24 </a:t>
            </a:r>
            <a:r>
              <a:rPr lang="en-GB" err="1"/>
              <a:t>pt</a:t>
            </a:r>
            <a:endParaRPr lang="fi-FI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6E8D17-302F-2708-9A0F-82CA796E9E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50902" y="2000187"/>
            <a:ext cx="3645548" cy="3092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A132C5A-86DF-8300-B725-365FF5BB1A7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43469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irakka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8692EF-5F1C-49F9-BF88-7C49994B5FB9}" type="datetime1">
              <a:rPr lang="fi-FI" smtClean="0"/>
              <a:t>5.5.2023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757841512"/>
              </p:ext>
            </p:extLst>
          </p:nvPr>
        </p:nvGraphicFramePr>
        <p:xfrm>
          <a:off x="850900" y="1314449"/>
          <a:ext cx="6329829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8EF112B-7659-4965-8D51-4E3F618E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8CB20B9-BF14-48B7-8FBF-55A893F501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2109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kit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ED8E3C-1D77-4DE1-BFA6-56BDED8E6778}" type="datetime1">
              <a:rPr lang="fi-FI" smtClean="0"/>
              <a:t>5.5.2023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503591336"/>
              </p:ext>
            </p:extLst>
          </p:nvPr>
        </p:nvGraphicFramePr>
        <p:xfrm>
          <a:off x="850900" y="1314449"/>
          <a:ext cx="6311900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089EDF-B6EA-42D8-ABC5-DC3F5127A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B898320-2141-47A4-9BD0-C34010A7F7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49759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92E092F-4C18-4469-8E83-6A834109ED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FAAFFF-5F2B-4165-A1EB-978BD4A568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B32EA3-DA3E-406D-8BC9-DB57E97263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6B60650-2462-4885-BDFA-965FD8BF2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420B20-D0B9-412C-A986-EE4A299C27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51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300340-25EF-4F66-8FC0-3524FCC23A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5AC8F70-F194-41C7-805B-D92734070F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2FE8445C-4D7C-459B-A750-14E5D4ADDF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D5E3786-1E77-41FF-ACC3-2C07F23E9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7512402-4326-4965-85DC-B1C3CB99F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273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053C6DA-FD50-4615-B8FB-FF833B6B87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D8D3088-BD2C-4F0D-AC59-B1D90F282A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29D64E-D9FD-4A72-A218-5A46A2A9E0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E2367D72-1261-4F4B-95BA-C217F9F6FE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B66ACCA-7C79-452D-AC6D-E7CE0118EB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248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5FDCB13-2229-4EDE-9601-A214D628E3E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0A3972D-8B49-48B9-A933-077AD84C2B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144724E-5CC4-417F-B397-D5FCDD2793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E4A42AB-E5D2-487E-A666-3E81D0EC4C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95806FA-A7F8-4680-B00C-DC11DE1C9C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90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6DD7C14-1622-4EAE-AD65-6E914DFD8C1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9808EF1-5D0E-43DC-80F8-12870B32C9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0962C8-DE63-43D8-8942-0B0108C26B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D6D991B-5BB1-4C8D-8A99-46E6234F7E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E06A6A-500D-4A81-A3A7-C636B9A8F4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AD99560-B70C-4CB4-8E0D-135C4B4F0D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F4CE26A-6975-4088-8C1C-2779DB9199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A4292A37-662E-4DBC-A495-79057914CC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AF58029-5C3F-4E73-9857-1AC430FAE0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72B7A3-2663-4A44-A26A-8324E29C4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92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812B7F-03F8-47AC-A428-BF026456F9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948B9A5-346C-4658-B145-33839B1205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C84AE66-04F3-4FC4-827B-3D825FC2FB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63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63B5C1A-13B1-4DF6-9D59-D74F0DD9A7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E6C6386-945C-47E0-A075-7592821D61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BB7FA65-2EFB-4FAE-93DF-18B27B9B5D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80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1 sisältö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8D8009-9C9D-BC20-E19F-6BBFBFF17D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err="1"/>
              <a:t>Otsikko</a:t>
            </a:r>
            <a:r>
              <a:rPr lang="en-GB"/>
              <a:t> 44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685810-6893-B421-9E24-5070E0BA23B9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fi-FI"/>
              <a:t>Leipäteksti 28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0EE75F-E69C-1BB7-BD19-66FB90E85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32CFB-8CF4-1C49-BC5F-593B5F3D3B14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1EE8F0-15A5-8FCF-A1D5-66536D64F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latunnis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019949-D649-D43F-8908-A18051B04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B090-397C-D745-B26D-388A8603260D}" type="slidenum">
              <a:rPr lang="fi-FI" smtClean="0"/>
              <a:t>‹#›</a:t>
            </a:fld>
            <a:endParaRPr lang="fi-FI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36B7C6-A167-E29B-B137-4BC0CBE498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395" y="6057899"/>
            <a:ext cx="3153982" cy="67827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8AB7446-32D7-9321-62EB-F686687D3D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531008"/>
            <a:ext cx="730292" cy="61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630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A28C2B3-EED9-4BDF-AC6A-C2BFC1453D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E4D2E0D-6F0C-4473-9A14-F0C36B7C2D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8D27C9-8603-41B8-86B2-143B00789D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673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D3C9BD-E553-4532-8F1B-692757DFF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5C3D7A0-CEE8-4810-AC66-8EEF47827F7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0A7BB2D-8403-4821-A23A-A7F9980B163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8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164F4-88DD-4DB6-A969-CF67CBF919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BD1C4AC-F731-4E7C-B6EF-52E5B96F5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EB6F2C5-68ED-495F-AA1D-095F742BE8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56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ACB5D14-0A9E-4CB4-A060-CF81F97CF1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C7CBFF0-AFA3-42D3-93F0-41E668754A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8D0B143-9B6A-4DE3-8C57-E3A879D06B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535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alto_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43383C-D902-4359-B134-36B4C4F73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81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B999F5-4813-427F-A4E4-5335441DBD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3932237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00F1A4-B81E-45E1-9606-07525FFE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F7C74-FDAC-47C9-85FF-A93A4A77D2DE}" type="datetime1">
              <a:rPr lang="fi-FI" smtClean="0"/>
              <a:t>5.5.2023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40F95E-9FAF-473A-8740-38C0D6F75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4EB64A9-0753-493D-931D-D429FE2A2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3932237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7897217-BD8C-4F57-9294-7DC932179A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796773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E54EFB4-12B2-4DFE-9F2E-3D2DD7CA7A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6869CB-89D0-4DA9-89A5-3150AD97AD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09055EB-5B06-42A3-A3F7-9558E538E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1" name="Picture 10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3E22456-AB22-4CB4-9C0E-E7E2302CA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38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54224DE-DE84-4CDB-804C-D62F8DBAD4A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36513FB-22B8-45CF-AEF7-A64E2EBADB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89C3558-BCB4-4A57-AFB2-95ED2FE281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68424A2-D2D4-4E4F-9B59-69E589A8D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FEABE71-E81F-4523-B5C3-B7A2E66D3C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C418F9D-13A3-4626-9E3D-49D09D588B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65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D6E9C94-F91C-4351-80A3-EF626BB6D9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C731633-EDC4-4E10-A99C-BCF4E3D47F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4383859-0CAC-4E51-BE74-57E16ABFBC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A68DA7D-4465-4F6E-8E5C-4866B5E82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7076935-D697-414D-AD85-CDF94E8903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3C36CB3-C464-4EE8-A100-EA1F3F701A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55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4D596EB-6C87-4E77-A282-E8F4AC510A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9554269-A758-425E-A7A9-3297720BD1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DA1327E-385A-450D-B8CB-02C8C36636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04CD8A6-3E7E-41DC-8B95-CADBC6BE8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69AA01B-7F14-434E-9FCE-1A5429402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42D9FD-2B12-421C-90EC-2996F4D495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26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3197DA-176C-4FE5-917B-D17DC70B75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A7A8F4DB-F8D7-4D33-9C7B-C531A05990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0538F70-F123-419A-9310-6629993937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0D085CB-FF03-477D-99B3-E2B4ACDB9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2B46A89-505B-4C00-9603-774EE16B94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0C9463F-722D-4A14-A275-2C0DE27D3C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45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1 sisältö tumman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8D8009-9C9D-BC20-E19F-6BBFBFF17D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err="1"/>
              <a:t>Otsikko</a:t>
            </a:r>
            <a:r>
              <a:rPr lang="en-GB"/>
              <a:t> 44 </a:t>
            </a:r>
            <a:r>
              <a:rPr lang="en-GB" err="1"/>
              <a:t>pt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685810-6893-B421-9E24-5070E0BA23B9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/>
              <a:t>Leipäteksti 28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0EE75F-E69C-1BB7-BD19-66FB90E85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32CFB-8CF4-1C49-BC5F-593B5F3D3B14}" type="datetimeFigureOut">
              <a:rPr lang="fi-FI" smtClean="0"/>
              <a:pPr/>
              <a:t>5.5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1EE8F0-15A5-8FCF-A1D5-66536D64F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Alatunnis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019949-D649-D43F-8908-A18051B04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FF9B090-397C-D745-B26D-388A8603260D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639812E-B5D7-79B2-772B-55C15A42A2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8" y="531007"/>
            <a:ext cx="734764" cy="622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341F3B3-3CC7-3846-B101-53507F32F4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44893" y="6057899"/>
            <a:ext cx="3152985" cy="6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49225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Deciduous tree">
            <a:extLst>
              <a:ext uri="{FF2B5EF4-FFF2-40B4-BE49-F238E27FC236}">
                <a16:creationId xmlns:a16="http://schemas.microsoft.com/office/drawing/2014/main" id="{A93C0E96-BAF3-4CE6-893E-BBBF4EBBF8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85642" y="2665254"/>
            <a:ext cx="4720908" cy="47209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E12F5B-6168-40D0-A95F-7BDBB48756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CACB86E-ED50-48E8-88C1-FFE2056D2C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20CEAFD-8292-45D3-B6A0-B7E4450267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2DDBF5D-668F-4A0C-B7A0-CADB0FE88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F3EC7DD-D9F8-4C93-8A6B-1B071ABDC33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BA4C3A-646D-4F4B-9ECB-183D2126A02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72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C4A104B-18AA-4D32-99D1-997AD72450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75F519A0-39B0-4EC5-A2A2-3EA7712143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D42A1AF-7F9C-4CF2-BBFC-B82C6AD759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E104650-C3CA-4705-9048-D79637A33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A0A90A8-9FE0-4C37-82BD-085ACB37DF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40EE8DD-F6DC-42C1-837C-34C80E1160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34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Vaa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746F1-38DD-4FD1-8721-CA848852F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6F0F28-7AEF-4281-9330-AB1ACB5791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30CEB-310C-4C23-BD33-AD1ABF5D4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6E634-4747-4C18-9630-96A196DBF87F}" type="datetime1">
              <a:rPr lang="fi-FI" smtClean="0"/>
              <a:t>5.5.2023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8DFE85-AC06-48FB-92D6-25F3F0EA7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C718087-0904-42CB-BF7F-BF506ABCAA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0360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aaka_ja_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C0FA221-AA95-4298-AD12-8A88E18CD9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1033271"/>
            <a:ext cx="2628900" cy="514369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9273D4-E8DF-45BF-9698-4447602788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033271"/>
            <a:ext cx="7734300" cy="514369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20074-A776-4019-A129-04037FC89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EE36B-1FB8-4D59-A82C-0E27C43A5F1F}" type="datetime1">
              <a:rPr lang="fi-FI" smtClean="0"/>
              <a:t>5.5.2023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14635-FF9B-4224-842E-C960380FA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FF30BED-DFC0-40F3-8884-6966E14F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739109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/>
              <a:t>Click to add subtitle</a:t>
            </a:r>
            <a:endParaRPr lang="en-GB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60267737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0E564A2-1B8F-54DD-160C-59200E2ECD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B2D05518-C225-3542-904F-6777BF2011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E1117C23-C050-2A8D-1093-B1E0E42FD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CC2FB-75A0-4839-84E8-731E9CACE635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1B506AAB-1587-C982-3037-C05C194C0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6F72D411-7026-6DC5-3E0B-57D0B19BC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F0E29-2536-4793-B0EC-EF5D6A44BE9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6049593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8A49229-73B7-3F22-645E-8F0F3DD4A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A1B7F09-61AC-BFA5-C7F4-386C46CA73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25FE2DA-1C39-A2A7-0FA5-DDA91EB5E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CC2FB-75A0-4839-84E8-731E9CACE635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11DA4BED-3EBB-965B-1E83-7CFC20EEEB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5762C9CC-A2E5-99C4-BA6C-9FA66A5A3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F0E29-2536-4793-B0EC-EF5D6A44BE9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821641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9E51E33-853B-ADB3-923D-554D57AE7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DF05E07E-C7AE-31C4-0B57-BDAAA909DA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09803C3-8AC3-D559-A62D-9186D62A05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CC2FB-75A0-4839-84E8-731E9CACE635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1FD0948-E1DE-BE51-6486-721C29665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3E11A011-38C8-D428-5D92-5B6B0F5EB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F0E29-2536-4793-B0EC-EF5D6A44BE9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239391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F64A992-1439-91E2-E7A4-A514AF947D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AAF9F39-57E9-2A51-C0AF-B92783FF3E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4A849399-7519-28CE-4CE1-4623814AFD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624BCE2D-C5F3-85F7-D535-732F5DF729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CC2FB-75A0-4839-84E8-731E9CACE635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9A64EC8E-965E-9360-9224-DFB3C2245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8502A2D-766F-9308-C83D-30674CF86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F0E29-2536-4793-B0EC-EF5D6A44BE9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8934764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888A70CC-0BDA-2E3B-CEC0-0EA4B5C113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9447865B-C8EF-1D71-4055-FEBAA7C914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B3D4ADF1-74C2-E598-F8B0-6657D524D3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E08FDD26-6D59-A233-ADC4-CB104C8B73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90827FC2-12CE-2A33-44E9-1CC2345F20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5C6880D7-DB59-12D8-DC28-D72067293E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CC2FB-75A0-4839-84E8-731E9CACE635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7A3E5925-B08D-813A-2E3B-74669BC94B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6D46AFBF-0A5C-B0B1-90D3-244BA1284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F0E29-2536-4793-B0EC-EF5D6A44BE9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09344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slideLayout" Target="../slideLayouts/slideLayout81.xml"/><Relationship Id="rId47" Type="http://schemas.openxmlformats.org/officeDocument/2006/relationships/slideLayout" Target="../slideLayouts/slideLayout86.xml"/><Relationship Id="rId50" Type="http://schemas.openxmlformats.org/officeDocument/2006/relationships/slideLayout" Target="../slideLayouts/slideLayout89.xml"/><Relationship Id="rId55" Type="http://schemas.openxmlformats.org/officeDocument/2006/relationships/slideLayout" Target="../slideLayouts/slideLayout94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0.xml"/><Relationship Id="rId54" Type="http://schemas.openxmlformats.org/officeDocument/2006/relationships/slideLayout" Target="../slideLayouts/slideLayout93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slideLayout" Target="../slideLayouts/slideLayout79.xml"/><Relationship Id="rId45" Type="http://schemas.openxmlformats.org/officeDocument/2006/relationships/slideLayout" Target="../slideLayouts/slideLayout84.xml"/><Relationship Id="rId53" Type="http://schemas.openxmlformats.org/officeDocument/2006/relationships/slideLayout" Target="../slideLayouts/slideLayout92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49" Type="http://schemas.openxmlformats.org/officeDocument/2006/relationships/slideLayout" Target="../slideLayouts/slideLayout88.xml"/><Relationship Id="rId57" Type="http://schemas.openxmlformats.org/officeDocument/2006/relationships/tags" Target="../tags/tag1.xml"/><Relationship Id="rId61" Type="http://schemas.openxmlformats.org/officeDocument/2006/relationships/image" Target="../media/image10.png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slideLayout" Target="../slideLayouts/slideLayout83.xml"/><Relationship Id="rId52" Type="http://schemas.openxmlformats.org/officeDocument/2006/relationships/slideLayout" Target="../slideLayouts/slideLayout91.xml"/><Relationship Id="rId60" Type="http://schemas.openxmlformats.org/officeDocument/2006/relationships/image" Target="../media/image1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slideLayout" Target="../slideLayouts/slideLayout82.xml"/><Relationship Id="rId48" Type="http://schemas.openxmlformats.org/officeDocument/2006/relationships/slideLayout" Target="../slideLayouts/slideLayout87.xml"/><Relationship Id="rId56" Type="http://schemas.openxmlformats.org/officeDocument/2006/relationships/theme" Target="../theme/theme6.xml"/><Relationship Id="rId8" Type="http://schemas.openxmlformats.org/officeDocument/2006/relationships/slideLayout" Target="../slideLayouts/slideLayout47.xml"/><Relationship Id="rId51" Type="http://schemas.openxmlformats.org/officeDocument/2006/relationships/slideLayout" Target="../slideLayouts/slideLayout90.xml"/><Relationship Id="rId3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46" Type="http://schemas.openxmlformats.org/officeDocument/2006/relationships/slideLayout" Target="../slideLayouts/slideLayout85.xml"/><Relationship Id="rId59" Type="http://schemas.openxmlformats.org/officeDocument/2006/relationships/image" Target="../media/image9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910806-493F-132E-0D2E-D75D41432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5" y="535510"/>
            <a:ext cx="10260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04D146-646D-D54B-D78B-31FF201B62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9965" y="2044748"/>
            <a:ext cx="10260000" cy="39522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024139-035D-0AA1-BB99-874ED2891B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29995" y="6213846"/>
            <a:ext cx="9631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fld id="{84F32CFB-8CF4-1C49-BC5F-593B5F3D3B14}" type="datetimeFigureOut">
              <a:rPr lang="fi-FI" smtClean="0"/>
              <a:pPr/>
              <a:t>5.5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79ABD9-72EF-74E9-13CE-7645C8EAE3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93553" y="621384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Alatunnis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7A2E6B-A0EF-85D5-B8E9-510C93B251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7750" y="6213846"/>
            <a:ext cx="4093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fld id="{6FF9B090-397C-D745-B26D-388A8603260D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20656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4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910806-493F-132E-0D2E-D75D41432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5" y="535510"/>
            <a:ext cx="10260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04D146-646D-D54B-D78B-31FF201B62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9965" y="2044748"/>
            <a:ext cx="10260000" cy="39522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024139-035D-0AA1-BB99-874ED2891B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29995" y="6213846"/>
            <a:ext cx="9631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fld id="{84F32CFB-8CF4-1C49-BC5F-593B5F3D3B14}" type="datetimeFigureOut">
              <a:rPr lang="fi-FI" smtClean="0"/>
              <a:pPr/>
              <a:t>5.5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79ABD9-72EF-74E9-13CE-7645C8EAE3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93553" y="621384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Alatunnis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7A2E6B-A0EF-85D5-B8E9-510C93B251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7750" y="6213846"/>
            <a:ext cx="4093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fld id="{6FF9B090-397C-D745-B26D-388A8603260D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5731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4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910806-493F-132E-0D2E-D75D41432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5" y="535510"/>
            <a:ext cx="10260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04D146-646D-D54B-D78B-31FF201B62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9965" y="2044748"/>
            <a:ext cx="10260000" cy="39522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024139-035D-0AA1-BB99-874ED2891B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29995" y="6213846"/>
            <a:ext cx="9631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fld id="{84F32CFB-8CF4-1C49-BC5F-593B5F3D3B14}" type="datetimeFigureOut">
              <a:rPr lang="fi-FI" smtClean="0"/>
              <a:pPr/>
              <a:t>5.5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79ABD9-72EF-74E9-13CE-7645C8EAE3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93553" y="621384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Alatunnis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7A2E6B-A0EF-85D5-B8E9-510C93B251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7750" y="6213846"/>
            <a:ext cx="4093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fld id="{6FF9B090-397C-D745-B26D-388A8603260D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87934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4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910806-493F-132E-0D2E-D75D41432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5" y="535510"/>
            <a:ext cx="10260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04D146-646D-D54B-D78B-31FF201B62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9965" y="2044748"/>
            <a:ext cx="10260000" cy="39522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024139-035D-0AA1-BB99-874ED2891B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29995" y="6213846"/>
            <a:ext cx="9631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fld id="{84F32CFB-8CF4-1C49-BC5F-593B5F3D3B14}" type="datetimeFigureOut">
              <a:rPr lang="fi-FI" smtClean="0"/>
              <a:pPr/>
              <a:t>5.5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79ABD9-72EF-74E9-13CE-7645C8EAE3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93553" y="621384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Alatunnis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7A2E6B-A0EF-85D5-B8E9-510C93B251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7750" y="6213846"/>
            <a:ext cx="4093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fld id="{6FF9B090-397C-D745-B26D-388A8603260D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37670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4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910806-493F-132E-0D2E-D75D41432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5" y="535510"/>
            <a:ext cx="10260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04D146-646D-D54B-D78B-31FF201B62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9965" y="2044748"/>
            <a:ext cx="10260000" cy="39522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024139-035D-0AA1-BB99-874ED2891B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29995" y="6213846"/>
            <a:ext cx="9631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fld id="{84F32CFB-8CF4-1C49-BC5F-593B5F3D3B14}" type="datetimeFigureOut">
              <a:rPr lang="fi-FI" smtClean="0"/>
              <a:pPr/>
              <a:t>5.5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79ABD9-72EF-74E9-13CE-7645C8EAE3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93553" y="621384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Alatunnis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7A2E6B-A0EF-85D5-B8E9-510C93B251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7750" y="6213846"/>
            <a:ext cx="4093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fld id="{6FF9B090-397C-D745-B26D-388A8603260D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64357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4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accent4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EA3D30-7FAC-406B-9DD1-8BCE0748A2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2278212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592" imgH="591" progId="TCLayout.ActiveDocument.1">
                  <p:embed/>
                </p:oleObj>
              </mc:Choice>
              <mc:Fallback>
                <p:oleObj name="think-cell Slide" r:id="rId5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EA3D30-7FAC-406B-9DD1-8BCE0748A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4675C3-A68A-494B-A887-BB4F9C595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24F11B-CC2F-4841-B144-357C828B9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16872D-DE43-4755-8211-BDAE2EE6B3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3495" y="6257748"/>
            <a:ext cx="1074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6F3F4CD8-536F-4549-973D-0FBA9CAF6C21}" type="datetime1">
              <a:rPr lang="fi-FI" smtClean="0"/>
              <a:pPr/>
              <a:t>5.5.2023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D66FFF-A4FB-4489-9B49-5DDC688AA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5568" y="6257749"/>
            <a:ext cx="6034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34F72BBA-3120-418C-94D3-114F2CB31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B4A78410-7DAE-4BD5-ACEE-CAF6BFA9404C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431617"/>
            <a:ext cx="821524" cy="6963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68F5E9F-A37F-4244-A1FD-705A898F7F45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3668" y="6242935"/>
            <a:ext cx="231755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373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  <p:sldLayoutId id="2147483818" r:id="rId20"/>
    <p:sldLayoutId id="2147483819" r:id="rId21"/>
    <p:sldLayoutId id="2147483820" r:id="rId22"/>
    <p:sldLayoutId id="2147483821" r:id="rId23"/>
    <p:sldLayoutId id="2147483822" r:id="rId24"/>
    <p:sldLayoutId id="2147483823" r:id="rId25"/>
    <p:sldLayoutId id="2147483824" r:id="rId26"/>
    <p:sldLayoutId id="2147483825" r:id="rId27"/>
    <p:sldLayoutId id="2147483826" r:id="rId28"/>
    <p:sldLayoutId id="2147483827" r:id="rId29"/>
    <p:sldLayoutId id="2147483828" r:id="rId30"/>
    <p:sldLayoutId id="2147483829" r:id="rId31"/>
    <p:sldLayoutId id="2147483830" r:id="rId32"/>
    <p:sldLayoutId id="2147483831" r:id="rId33"/>
    <p:sldLayoutId id="2147483832" r:id="rId34"/>
    <p:sldLayoutId id="2147483833" r:id="rId35"/>
    <p:sldLayoutId id="2147483834" r:id="rId36"/>
    <p:sldLayoutId id="2147483835" r:id="rId37"/>
    <p:sldLayoutId id="2147483836" r:id="rId38"/>
    <p:sldLayoutId id="2147483837" r:id="rId39"/>
    <p:sldLayoutId id="2147483838" r:id="rId40"/>
    <p:sldLayoutId id="2147483839" r:id="rId41"/>
    <p:sldLayoutId id="2147483840" r:id="rId42"/>
    <p:sldLayoutId id="2147483841" r:id="rId43"/>
    <p:sldLayoutId id="2147483842" r:id="rId44"/>
    <p:sldLayoutId id="2147483843" r:id="rId45"/>
    <p:sldLayoutId id="2147483844" r:id="rId46"/>
    <p:sldLayoutId id="2147483845" r:id="rId47"/>
    <p:sldLayoutId id="2147483846" r:id="rId48"/>
    <p:sldLayoutId id="2147483847" r:id="rId49"/>
    <p:sldLayoutId id="2147483848" r:id="rId50"/>
    <p:sldLayoutId id="2147483849" r:id="rId51"/>
    <p:sldLayoutId id="2147483850" r:id="rId52"/>
    <p:sldLayoutId id="2147483851" r:id="rId53"/>
    <p:sldLayoutId id="2147483852" r:id="rId54"/>
    <p:sldLayoutId id="2147483853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spc="0">
          <a:solidFill>
            <a:schemeClr val="tx1"/>
          </a:solidFill>
          <a:latin typeface="Poppins ExtraBold" panose="00000900000000000000" pitchFamily="2" charset="0"/>
          <a:ea typeface="+mj-ea"/>
          <a:cs typeface="Poppins ExtraBold" panose="000009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B25F2419-8352-C035-5B39-C6BD4DD56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02D9642-8420-6C21-BD47-D119677297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3CD69DD-83FA-C813-3ED2-158F3F0C04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7CC2FB-75A0-4839-84E8-731E9CACE635}" type="datetimeFigureOut">
              <a:rPr lang="fi-FI" smtClean="0"/>
              <a:t>5.5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D49F300-C1EC-3D9F-657C-E0ADEC0CF8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3544D997-6B41-70C3-D81E-51225E2616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8F0E29-2536-4793-B0EC-EF5D6A44BE9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78876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A6EC45E-45BD-B9BC-A9B1-A58F131101C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i-FI" dirty="0"/>
              <a:t>Lastensuojelun palvelut Vantaan ja Keravan hyvinvointialueella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FA7EDE7-7D4F-C5D0-9981-0EE258E8E4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fi-FI" dirty="0"/>
              <a:t>Lasten, nuorten ja perheiden palvelut –jaosto 11.5.2023</a:t>
            </a:r>
          </a:p>
          <a:p>
            <a:endParaRPr lang="fi-FI" dirty="0"/>
          </a:p>
          <a:p>
            <a:r>
              <a:rPr lang="fi-FI" dirty="0"/>
              <a:t>Saana Pukkio, Perheiden erityispalvelujen palvelualuejohtaja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947044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67783F7-2866-BFB1-4E29-7E4260365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5" y="535511"/>
            <a:ext cx="10260000" cy="800130"/>
          </a:xfrm>
        </p:spPr>
        <p:txBody>
          <a:bodyPr>
            <a:normAutofit fontScale="90000"/>
          </a:bodyPr>
          <a:lstStyle/>
          <a:p>
            <a:r>
              <a:rPr lang="fi-FI" dirty="0"/>
              <a:t>Lastensuojelun onnistumiset ja kehittäminen 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7EC6B1B9-7BF6-2B3B-7AE3-6A2BF054F5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9965" y="1664413"/>
            <a:ext cx="10260000" cy="4383997"/>
          </a:xfrm>
        </p:spPr>
        <p:txBody>
          <a:bodyPr>
            <a:normAutofit fontScale="92500" lnSpcReduction="20000"/>
          </a:bodyPr>
          <a:lstStyle/>
          <a:p>
            <a:r>
              <a:rPr lang="fi-FI" dirty="0"/>
              <a:t>Osaava, motivoitunut ja kehittämismyönteinen henkilöstö </a:t>
            </a:r>
          </a:p>
          <a:p>
            <a:r>
              <a:rPr lang="fi-FI" dirty="0"/>
              <a:t>Lähijohtaminen saa kiitosta (Vantaan Kunta10-kyselyn tulokset)</a:t>
            </a:r>
          </a:p>
          <a:p>
            <a:r>
              <a:rPr lang="fi-FI" dirty="0"/>
              <a:t>Johtamista on kehitetty ja kehitetään määrätietoisesti </a:t>
            </a:r>
          </a:p>
          <a:p>
            <a:r>
              <a:rPr lang="fi-FI" dirty="0"/>
              <a:t>Laaja palveluvalikko, selkeät rakenteet ja työn tuki (moniammatillinen asiantuntijaryhmä, lakiyksikön tuki, säännöllinen koulutus) tukevat työn tekemistä laadukkaasti </a:t>
            </a:r>
          </a:p>
          <a:p>
            <a:r>
              <a:rPr lang="fi-FI" dirty="0"/>
              <a:t>Systeeminen työote on lisännyt asiakaslähtöisyyttä ja työn mielekkyyttä</a:t>
            </a:r>
          </a:p>
          <a:p>
            <a:r>
              <a:rPr lang="fi-FI" dirty="0"/>
              <a:t>Rikoksilla oireilevat nuoret –hankkeesta saatu hyviä tuloksia kohderyhmän tukemiseksi</a:t>
            </a:r>
          </a:p>
          <a:p>
            <a:r>
              <a:rPr lang="fi-FI" dirty="0"/>
              <a:t>Asiakasosallisuutta tukeva toiminta: Nuorten kokemusasiantuntijaryhmä, sijoitettujen lasten vanhempien Voikukkia-ryhmät, </a:t>
            </a:r>
            <a:r>
              <a:rPr lang="fi-FI" dirty="0" err="1"/>
              <a:t>Kokemuskohtaamo</a:t>
            </a:r>
            <a:r>
              <a:rPr lang="fi-FI" dirty="0"/>
              <a:t>-hanke</a:t>
            </a:r>
          </a:p>
        </p:txBody>
      </p:sp>
    </p:spTree>
    <p:extLst>
      <p:ext uri="{BB962C8B-B14F-4D97-AF65-F5344CB8AC3E}">
        <p14:creationId xmlns:p14="http://schemas.microsoft.com/office/powerpoint/2010/main" val="11384887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F716A5F-B486-AF4A-05F4-BD0AC8FEB35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/>
              <a:t>Kiitos!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1ADE828E-0EEE-9C94-E2B8-1E34E7359B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/>
              <a:t>saana.pukkio@vakehyva.fi</a:t>
            </a:r>
          </a:p>
          <a:p>
            <a:r>
              <a:rPr lang="fi-FI" dirty="0"/>
              <a:t>p. 050 312 1844</a:t>
            </a:r>
          </a:p>
        </p:txBody>
      </p:sp>
    </p:spTree>
    <p:extLst>
      <p:ext uri="{BB962C8B-B14F-4D97-AF65-F5344CB8AC3E}">
        <p14:creationId xmlns:p14="http://schemas.microsoft.com/office/powerpoint/2010/main" val="2674636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0BEA2C1B-4239-8483-5B0B-E4FB32438343}"/>
              </a:ext>
            </a:extLst>
          </p:cNvPr>
          <p:cNvSpPr/>
          <p:nvPr/>
        </p:nvSpPr>
        <p:spPr>
          <a:xfrm>
            <a:off x="378691" y="6150024"/>
            <a:ext cx="4509005" cy="707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FC0AF080-F373-4BE7-8107-213BA85E2186}"/>
              </a:ext>
            </a:extLst>
          </p:cNvPr>
          <p:cNvSpPr/>
          <p:nvPr/>
        </p:nvSpPr>
        <p:spPr>
          <a:xfrm>
            <a:off x="1296829" y="1059856"/>
            <a:ext cx="9684680" cy="634049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LASTEN, NUORTEN JA PERHEIDEN PALVELUJEN TOIMIAL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Hanna Mikkonen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FA3F04F6-6192-42A1-A175-D701662D13CE}"/>
              </a:ext>
            </a:extLst>
          </p:cNvPr>
          <p:cNvSpPr/>
          <p:nvPr/>
        </p:nvSpPr>
        <p:spPr>
          <a:xfrm>
            <a:off x="1292598" y="2029922"/>
            <a:ext cx="9684679" cy="513975"/>
          </a:xfrm>
          <a:prstGeom prst="roundRect">
            <a:avLst>
              <a:gd name="adj" fmla="val 714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Perheiden erityispalvelujen palvelualu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Saana </a:t>
            </a:r>
            <a:r>
              <a:rPr kumimoji="0" lang="fi-FI" sz="16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Pukkio</a:t>
            </a:r>
            <a:endParaRPr kumimoji="0" lang="fi-FI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SemiBold" panose="00000700000000000000" pitchFamily="2" charset="0"/>
              <a:ea typeface="+mn-ea"/>
              <a:cs typeface="Poppins SemiBold" panose="00000700000000000000" pitchFamily="2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ECC978DA-7747-489A-AC65-B50DC52199D5}"/>
              </a:ext>
            </a:extLst>
          </p:cNvPr>
          <p:cNvSpPr/>
          <p:nvPr/>
        </p:nvSpPr>
        <p:spPr>
          <a:xfrm>
            <a:off x="1292598" y="2886522"/>
            <a:ext cx="4561307" cy="271130"/>
          </a:xfrm>
          <a:prstGeom prst="roundRect">
            <a:avLst>
              <a:gd name="adj" fmla="val 13849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Lastensuojelun avohuollon palvelu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Jaana Leppäkorpi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5674A92-D7ED-4DD2-8597-EEF69B82C674}"/>
              </a:ext>
            </a:extLst>
          </p:cNvPr>
          <p:cNvSpPr txBox="1"/>
          <p:nvPr/>
        </p:nvSpPr>
        <p:spPr>
          <a:xfrm>
            <a:off x="1296540" y="1735840"/>
            <a:ext cx="96846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all" spc="6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Palvelualueet</a:t>
            </a: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D53444C9-81BD-4E37-9F77-28B3BFD2EB7F}"/>
              </a:ext>
            </a:extLst>
          </p:cNvPr>
          <p:cNvSpPr/>
          <p:nvPr/>
        </p:nvSpPr>
        <p:spPr>
          <a:xfrm>
            <a:off x="6457539" y="2877412"/>
            <a:ext cx="4526527" cy="277042"/>
          </a:xfrm>
          <a:prstGeom prst="roundRect">
            <a:avLst>
              <a:gd name="adj" fmla="val 13849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SemiBold"/>
                <a:ea typeface="+mn-ea"/>
                <a:cs typeface="Poppins SemiBold"/>
              </a:rPr>
              <a:t>Lastensuojelun sijaishuollon palvelut, </a:t>
            </a:r>
            <a:endParaRPr kumimoji="0" lang="fi-FI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SemiBold" panose="00000700000000000000" pitchFamily="2" charset="0"/>
              <a:ea typeface="+mn-ea"/>
              <a:cs typeface="Poppins SemiBold" panose="000007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1" i="0" u="none" strike="noStrike" kern="1200" cap="none" spc="0" normalizeH="0" baseline="0" noProof="0" dirty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Anna </a:t>
            </a:r>
            <a:r>
              <a:rPr kumimoji="0" lang="fi-FI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Klingenberg</a:t>
            </a:r>
            <a:r>
              <a:rPr kumimoji="0" lang="fi-FI" sz="1050" b="1" i="0" u="none" strike="noStrike" kern="1200" cap="none" spc="0" normalizeH="0" baseline="0" noProof="0" dirty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-Peltola</a:t>
            </a:r>
            <a:endParaRPr kumimoji="0" lang="fi-FI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Poppins SemiBold" panose="00000700000000000000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9E8B8A6-5787-4BA1-912B-B65F1E6BA8BE}"/>
              </a:ext>
            </a:extLst>
          </p:cNvPr>
          <p:cNvSpPr txBox="1"/>
          <p:nvPr/>
        </p:nvSpPr>
        <p:spPr>
          <a:xfrm>
            <a:off x="1296828" y="698551"/>
            <a:ext cx="96846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6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TOIMIAL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DE4387B-D7B4-49A1-9D92-2EE502C2D938}"/>
              </a:ext>
            </a:extLst>
          </p:cNvPr>
          <p:cNvSpPr txBox="1"/>
          <p:nvPr/>
        </p:nvSpPr>
        <p:spPr>
          <a:xfrm>
            <a:off x="1292599" y="2578274"/>
            <a:ext cx="9684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all" spc="6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t>Tehtäväalueet ja yksikö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AC55B28-A7DD-4581-B92C-43E323992899}"/>
              </a:ext>
            </a:extLst>
          </p:cNvPr>
          <p:cNvSpPr txBox="1">
            <a:spLocks/>
          </p:cNvSpPr>
          <p:nvPr/>
        </p:nvSpPr>
        <p:spPr>
          <a:xfrm>
            <a:off x="11275568" y="6257749"/>
            <a:ext cx="603473" cy="365125"/>
          </a:xfrm>
          <a:prstGeom prst="rect">
            <a:avLst/>
          </a:prstGeom>
        </p:spPr>
        <p:txBody>
          <a:bodyPr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C7B8F6-2765-465B-BF52-D1DF320C1AE3}" type="slidenum">
              <a:rPr kumimoji="0" lang="fi-FI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i-FI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EFEDBDE2-5B3F-42B9-9683-220A61088BFE}"/>
              </a:ext>
            </a:extLst>
          </p:cNvPr>
          <p:cNvSpPr/>
          <p:nvPr/>
        </p:nvSpPr>
        <p:spPr>
          <a:xfrm>
            <a:off x="1296830" y="3243216"/>
            <a:ext cx="4561306" cy="17577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7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  <a:t>Lastensuojelun avohuollon sosiaalityö, Hanna Vehniäinen</a:t>
            </a:r>
            <a:endParaRPr kumimoji="0" lang="fi-FI" sz="11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51F72B81-F27D-4A5C-8B77-254F6FDFEFC7}"/>
              </a:ext>
            </a:extLst>
          </p:cNvPr>
          <p:cNvSpPr/>
          <p:nvPr/>
        </p:nvSpPr>
        <p:spPr>
          <a:xfrm>
            <a:off x="1292598" y="3811949"/>
            <a:ext cx="4561304" cy="1447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762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 Tiimi Minna Tuokko </a:t>
            </a:r>
            <a:endParaRPr kumimoji="0" lang="fi-FI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40A2DEAF-2125-4693-B872-A35F6B828CFE}"/>
              </a:ext>
            </a:extLst>
          </p:cNvPr>
          <p:cNvSpPr/>
          <p:nvPr/>
        </p:nvSpPr>
        <p:spPr>
          <a:xfrm>
            <a:off x="1292598" y="3467587"/>
            <a:ext cx="4561306" cy="1377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762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Tiimi Tuuli Kotisaari (perhevapaalla, sijaisuus avoin)</a:t>
            </a:r>
            <a:endParaRPr kumimoji="0" lang="fi-FI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2841A42-AFC7-4EFA-BBA0-4AB4B808F171}"/>
              </a:ext>
            </a:extLst>
          </p:cNvPr>
          <p:cNvSpPr/>
          <p:nvPr/>
        </p:nvSpPr>
        <p:spPr>
          <a:xfrm>
            <a:off x="1292598" y="3652948"/>
            <a:ext cx="4561305" cy="13372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762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 Tiimi Heli </a:t>
            </a:r>
            <a:r>
              <a:rPr kumimoji="0" lang="fi-FI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Rusama</a:t>
            </a:r>
          </a:p>
        </p:txBody>
      </p:sp>
      <p:grpSp>
        <p:nvGrpSpPr>
          <p:cNvPr id="7" name="Ryhmä 6">
            <a:extLst>
              <a:ext uri="{FF2B5EF4-FFF2-40B4-BE49-F238E27FC236}">
                <a16:creationId xmlns:a16="http://schemas.microsoft.com/office/drawing/2014/main" id="{000A2435-851D-B161-C9C4-8A8F8447F009}"/>
              </a:ext>
            </a:extLst>
          </p:cNvPr>
          <p:cNvGrpSpPr/>
          <p:nvPr/>
        </p:nvGrpSpPr>
        <p:grpSpPr>
          <a:xfrm>
            <a:off x="6463982" y="4337696"/>
            <a:ext cx="4529377" cy="2379745"/>
            <a:chOff x="6454689" y="3241160"/>
            <a:chExt cx="4529377" cy="2379745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CCBC801E-0A73-4EC4-8CB8-0F11165A7FB6}"/>
                </a:ext>
              </a:extLst>
            </p:cNvPr>
            <p:cNvSpPr/>
            <p:nvPr/>
          </p:nvSpPr>
          <p:spPr>
            <a:xfrm>
              <a:off x="6465423" y="3241160"/>
              <a:ext cx="4518643" cy="16848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937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Lasten ja nuorten vastaanottotoiminta, Tommi Hiltunen  </a:t>
              </a:r>
              <a:endPara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E1812DA3-1F25-49C6-9E32-29DCE973A40C}"/>
                </a:ext>
              </a:extLst>
            </p:cNvPr>
            <p:cNvSpPr/>
            <p:nvPr/>
          </p:nvSpPr>
          <p:spPr>
            <a:xfrm>
              <a:off x="6462215" y="4421289"/>
              <a:ext cx="4511405" cy="17800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937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Kuntouttava sijaishuolto, Janne Vaaralahti</a:t>
              </a:r>
              <a:endPara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EAF30227-5271-41F8-8B3F-5FD3E5860E64}"/>
                </a:ext>
              </a:extLst>
            </p:cNvPr>
            <p:cNvSpPr/>
            <p:nvPr/>
          </p:nvSpPr>
          <p:spPr>
            <a:xfrm>
              <a:off x="6454690" y="3821792"/>
              <a:ext cx="4522585" cy="134857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937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Os. Vaahteramäki, </a:t>
              </a:r>
              <a:r>
                <a:rPr kumimoji="0" lang="fi-FI" sz="10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Gabriella</a:t>
              </a: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 Mäkinen</a:t>
              </a:r>
              <a:endPara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D6361B88-F5AC-491F-9556-63C2CD12A528}"/>
                </a:ext>
              </a:extLst>
            </p:cNvPr>
            <p:cNvSpPr/>
            <p:nvPr/>
          </p:nvSpPr>
          <p:spPr>
            <a:xfrm>
              <a:off x="6454691" y="3461265"/>
              <a:ext cx="4522585" cy="14345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937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Nuorten vastaanotto-os. 1, Jenni Myllymäki</a:t>
              </a:r>
              <a:endPara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DD861F04-4472-46E4-BB9F-5B349E371C63}"/>
                </a:ext>
              </a:extLst>
            </p:cNvPr>
            <p:cNvSpPr/>
            <p:nvPr/>
          </p:nvSpPr>
          <p:spPr>
            <a:xfrm>
              <a:off x="6454690" y="3648082"/>
              <a:ext cx="4522585" cy="143457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937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Nuorten vastaanotto-os. 2, Ida Huhtapelto</a:t>
              </a:r>
              <a:endPara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2D8502B2-8A2B-4DFF-8BEE-A10BD09B08F0}"/>
                </a:ext>
              </a:extLst>
            </p:cNvPr>
            <p:cNvSpPr/>
            <p:nvPr/>
          </p:nvSpPr>
          <p:spPr>
            <a:xfrm>
              <a:off x="6454689" y="4005539"/>
              <a:ext cx="4522585" cy="14481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937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Os. </a:t>
              </a:r>
              <a:r>
                <a:rPr kumimoji="0" lang="fi-FI" sz="10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Terhola</a:t>
              </a: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, Tarja Pakkala</a:t>
              </a:r>
              <a:endPara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130D0A86-4A27-4A78-A797-922442C44FB4}"/>
                </a:ext>
              </a:extLst>
            </p:cNvPr>
            <p:cNvSpPr/>
            <p:nvPr/>
          </p:nvSpPr>
          <p:spPr>
            <a:xfrm>
              <a:off x="6461481" y="4187795"/>
              <a:ext cx="4522585" cy="14481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937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Vastaanottoperhetoiminta, Tuulia Vainio</a:t>
              </a:r>
              <a:endPara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EBC9672F-1372-404F-8E93-B02E63DC90F7}"/>
                </a:ext>
              </a:extLst>
            </p:cNvPr>
            <p:cNvSpPr/>
            <p:nvPr/>
          </p:nvSpPr>
          <p:spPr>
            <a:xfrm>
              <a:off x="6461481" y="5081455"/>
              <a:ext cx="4522585" cy="13322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937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Os. Harjula, Jani Puskala</a:t>
              </a:r>
              <a:endPara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F14E002B-B4CB-4E20-B029-B96E04C7C21C}"/>
                </a:ext>
              </a:extLst>
            </p:cNvPr>
            <p:cNvSpPr/>
            <p:nvPr/>
          </p:nvSpPr>
          <p:spPr>
            <a:xfrm>
              <a:off x="6459364" y="4687155"/>
              <a:ext cx="4522585" cy="14172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937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Os. </a:t>
              </a:r>
              <a:r>
                <a:rPr kumimoji="0" lang="fi-FI" sz="10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Asola</a:t>
              </a: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, Sanna Peltonen</a:t>
              </a:r>
              <a:endPara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5E19703B-4CCC-4BFF-98F0-D655AE412B3E}"/>
                </a:ext>
              </a:extLst>
            </p:cNvPr>
            <p:cNvSpPr/>
            <p:nvPr/>
          </p:nvSpPr>
          <p:spPr>
            <a:xfrm>
              <a:off x="6461480" y="4883838"/>
              <a:ext cx="4518355" cy="13684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937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Os. Vuorikumpu, Seija Lappalainen</a:t>
              </a:r>
              <a:endPara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6B993C6D-BFB8-4E54-B968-87D7D4A25D7F}"/>
                </a:ext>
              </a:extLst>
            </p:cNvPr>
            <p:cNvSpPr/>
            <p:nvPr/>
          </p:nvSpPr>
          <p:spPr>
            <a:xfrm>
              <a:off x="6461478" y="5280844"/>
              <a:ext cx="4518355" cy="133230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937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Potkuri (itsenäistymisen tuki) , Anu Ström</a:t>
              </a:r>
              <a:endPara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E8DA70E1-D343-4009-8C37-0A89044E9556}"/>
                </a:ext>
              </a:extLst>
            </p:cNvPr>
            <p:cNvSpPr/>
            <p:nvPr/>
          </p:nvSpPr>
          <p:spPr>
            <a:xfrm>
              <a:off x="6461481" y="5454219"/>
              <a:ext cx="4518355" cy="16668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762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/>
                </a:rPr>
                <a:t> Os. Kataja, Kyösti </a:t>
              </a:r>
              <a:r>
                <a:rPr kumimoji="0" lang="fi-FI" sz="10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/>
                </a:rPr>
                <a:t>Svart</a:t>
              </a:r>
              <a:endParaRPr kumimoji="0" lang="fi-FI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</p:grpSp>
      <p:sp>
        <p:nvSpPr>
          <p:cNvPr id="4" name="Rectangle: Rounded Corners 63">
            <a:extLst>
              <a:ext uri="{FF2B5EF4-FFF2-40B4-BE49-F238E27FC236}">
                <a16:creationId xmlns:a16="http://schemas.microsoft.com/office/drawing/2014/main" id="{4BE6EC36-4A7E-E118-3F95-0FA26388C3F9}"/>
              </a:ext>
            </a:extLst>
          </p:cNvPr>
          <p:cNvSpPr/>
          <p:nvPr/>
        </p:nvSpPr>
        <p:spPr>
          <a:xfrm>
            <a:off x="1365771" y="3467116"/>
            <a:ext cx="767829" cy="49028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7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  <a:t> Länsi</a:t>
            </a:r>
            <a:endParaRPr kumimoji="0" lang="fi-FI" sz="105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3" name="Oikea aaltosulje 2">
            <a:extLst>
              <a:ext uri="{FF2B5EF4-FFF2-40B4-BE49-F238E27FC236}">
                <a16:creationId xmlns:a16="http://schemas.microsoft.com/office/drawing/2014/main" id="{BE9F4E25-C795-0692-74FF-5054E7AAC9C4}"/>
              </a:ext>
            </a:extLst>
          </p:cNvPr>
          <p:cNvSpPr/>
          <p:nvPr/>
        </p:nvSpPr>
        <p:spPr>
          <a:xfrm>
            <a:off x="1989151" y="3469312"/>
            <a:ext cx="288897" cy="460889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2FE143D-4CE9-4931-B1CC-DABA1EFC258D}"/>
              </a:ext>
            </a:extLst>
          </p:cNvPr>
          <p:cNvSpPr/>
          <p:nvPr/>
        </p:nvSpPr>
        <p:spPr>
          <a:xfrm>
            <a:off x="1311183" y="4999006"/>
            <a:ext cx="4561297" cy="17158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7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  <a:p>
            <a:pPr marL="7937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  <a:t>Lastensuojelun kotiin vietävät palvelut, Outi Jokinen</a:t>
            </a:r>
            <a:b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</a:br>
            <a:endParaRPr kumimoji="0" lang="fi-FI" sz="11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6A0022E4-5A96-40EF-8FA4-0604B2726A85}"/>
              </a:ext>
            </a:extLst>
          </p:cNvPr>
          <p:cNvSpPr/>
          <p:nvPr/>
        </p:nvSpPr>
        <p:spPr>
          <a:xfrm>
            <a:off x="1311183" y="6021776"/>
            <a:ext cx="4561299" cy="18854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7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  <a:t>Kuuselan perhekuntoutuskeskus, Teemu Tuominen </a:t>
            </a:r>
            <a:endParaRPr kumimoji="0" lang="fi-FI" sz="11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3ABDEC2C-69D9-40F1-A997-3E0BD95A9970}"/>
              </a:ext>
            </a:extLst>
          </p:cNvPr>
          <p:cNvSpPr/>
          <p:nvPr/>
        </p:nvSpPr>
        <p:spPr>
          <a:xfrm>
            <a:off x="1311184" y="4394086"/>
            <a:ext cx="4561295" cy="1390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762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Tiimi </a:t>
            </a:r>
            <a:r>
              <a:rPr kumimoji="0" lang="fi-FI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Virge</a:t>
            </a: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 Mikkola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E522617-FD7A-4388-B7B5-4E720CBF3988}"/>
              </a:ext>
            </a:extLst>
          </p:cNvPr>
          <p:cNvSpPr/>
          <p:nvPr/>
        </p:nvSpPr>
        <p:spPr>
          <a:xfrm>
            <a:off x="1321816" y="4012188"/>
            <a:ext cx="4561302" cy="13372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762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Tiimi Juha Ikonen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B12AFA0-BFC1-4408-98AD-8E236814E65C}"/>
              </a:ext>
            </a:extLst>
          </p:cNvPr>
          <p:cNvSpPr/>
          <p:nvPr/>
        </p:nvSpPr>
        <p:spPr>
          <a:xfrm>
            <a:off x="1311185" y="4202541"/>
            <a:ext cx="4561294" cy="13836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762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Tiimi Noora Ahokangas-Jore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29111220-20B6-41D9-A211-7E6B9F0F1CAD}"/>
              </a:ext>
            </a:extLst>
          </p:cNvPr>
          <p:cNvSpPr/>
          <p:nvPr/>
        </p:nvSpPr>
        <p:spPr>
          <a:xfrm>
            <a:off x="1311183" y="4597348"/>
            <a:ext cx="4561296" cy="14470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762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Tiimi </a:t>
            </a:r>
            <a:r>
              <a:rPr kumimoji="0" lang="fi-FI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Carsten</a:t>
            </a: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 </a:t>
            </a:r>
            <a:r>
              <a:rPr kumimoji="0" lang="fi-FI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Kundt</a:t>
            </a:r>
            <a:endParaRPr kumimoji="0" lang="fi-FI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Poppins ExtraBold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E1211914-64E7-42C5-A252-B0E8B307492A}"/>
              </a:ext>
            </a:extLst>
          </p:cNvPr>
          <p:cNvSpPr/>
          <p:nvPr/>
        </p:nvSpPr>
        <p:spPr>
          <a:xfrm>
            <a:off x="1311183" y="5624873"/>
            <a:ext cx="4561298" cy="1390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7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  <a:t>Nuorten intensiivityö, Marja </a:t>
            </a:r>
            <a:r>
              <a:rPr kumimoji="0" lang="fi-FI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  <a:t>Wallden</a:t>
            </a: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  <a:t>-Hirvonen</a:t>
            </a:r>
            <a:endParaRPr kumimoji="0" lang="fi-FI" sz="105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28B9FEED-5AEF-462E-884F-1E56FA7A7D5E}"/>
              </a:ext>
            </a:extLst>
          </p:cNvPr>
          <p:cNvSpPr/>
          <p:nvPr/>
        </p:nvSpPr>
        <p:spPr>
          <a:xfrm>
            <a:off x="1311183" y="5230295"/>
            <a:ext cx="4561297" cy="1390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7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  <a:t>Tehostettu perhetyö länsi, </a:t>
            </a:r>
            <a:r>
              <a:rPr lang="fi-FI" sz="1050" dirty="0">
                <a:solidFill>
                  <a:prstClr val="black"/>
                </a:solidFill>
                <a:latin typeface="Poppins ExtraLight"/>
                <a:cs typeface="Poppins ExtraBold" panose="020B0604020202020204" charset="0"/>
              </a:rPr>
              <a:t>avoin</a:t>
            </a:r>
            <a:endParaRPr kumimoji="0" lang="fi-FI" sz="105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62F1B3B8-8DA4-4C85-A9CC-3A14749E6F53}"/>
              </a:ext>
            </a:extLst>
          </p:cNvPr>
          <p:cNvSpPr/>
          <p:nvPr/>
        </p:nvSpPr>
        <p:spPr>
          <a:xfrm>
            <a:off x="1311183" y="5432683"/>
            <a:ext cx="4561298" cy="1390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7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  <a:t>Tehostettu perhetyö itä-pohjoinen, Mika Virolainen</a:t>
            </a:r>
            <a:endParaRPr kumimoji="0" lang="fi-FI" sz="105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D7231562-82B2-4A8A-B149-2CF5EC78B8C5}"/>
              </a:ext>
            </a:extLst>
          </p:cNvPr>
          <p:cNvSpPr/>
          <p:nvPr/>
        </p:nvSpPr>
        <p:spPr>
          <a:xfrm>
            <a:off x="1311183" y="5825130"/>
            <a:ext cx="4561298" cy="1390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762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Kiireellinen tehostettu perhetyö, Tarja Jääskeläinen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275A3886-41FD-4FA6-8138-74FAD5A0A779}"/>
              </a:ext>
            </a:extLst>
          </p:cNvPr>
          <p:cNvSpPr/>
          <p:nvPr/>
        </p:nvSpPr>
        <p:spPr>
          <a:xfrm>
            <a:off x="1315409" y="6244699"/>
            <a:ext cx="4561300" cy="13836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7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  <a:t>Os. Tammela, Mervi Halonen</a:t>
            </a:r>
            <a:endParaRPr kumimoji="0" lang="fi-FI" sz="105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8F0AA696-1074-41AA-9470-2E1A534AD34D}"/>
              </a:ext>
            </a:extLst>
          </p:cNvPr>
          <p:cNvSpPr/>
          <p:nvPr/>
        </p:nvSpPr>
        <p:spPr>
          <a:xfrm>
            <a:off x="1315407" y="6424884"/>
            <a:ext cx="4561302" cy="13908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7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  <a:t>Os. Kuusenkäpy, Merita Haatainen</a:t>
            </a:r>
            <a:endParaRPr kumimoji="0" lang="fi-FI" sz="105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65" name="Rectangle: Rounded Corners 43">
            <a:extLst>
              <a:ext uri="{FF2B5EF4-FFF2-40B4-BE49-F238E27FC236}">
                <a16:creationId xmlns:a16="http://schemas.microsoft.com/office/drawing/2014/main" id="{F3E8B100-DEC7-4CAB-8619-9E07F1495FFB}"/>
              </a:ext>
            </a:extLst>
          </p:cNvPr>
          <p:cNvSpPr/>
          <p:nvPr/>
        </p:nvSpPr>
        <p:spPr>
          <a:xfrm>
            <a:off x="1311183" y="4783126"/>
            <a:ext cx="4561296" cy="13372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762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Tiimi Miia Salmela</a:t>
            </a:r>
            <a:endParaRPr kumimoji="0" lang="fi-FI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5" name="Rectangle: Rounded Corners 63">
            <a:extLst>
              <a:ext uri="{FF2B5EF4-FFF2-40B4-BE49-F238E27FC236}">
                <a16:creationId xmlns:a16="http://schemas.microsoft.com/office/drawing/2014/main" id="{63B678DA-C2EA-EA0C-1107-14C53340904C}"/>
              </a:ext>
            </a:extLst>
          </p:cNvPr>
          <p:cNvSpPr/>
          <p:nvPr/>
        </p:nvSpPr>
        <p:spPr>
          <a:xfrm>
            <a:off x="1272844" y="4002895"/>
            <a:ext cx="952512" cy="89722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7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rPr>
              <a:t> Itä -Pohjoinen</a:t>
            </a:r>
            <a:endParaRPr kumimoji="0" lang="fi-FI" sz="105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oppins ExtraLight"/>
              <a:ea typeface="+mn-ea"/>
              <a:cs typeface="Poppins ExtraBold" panose="020B0604020202020204" charset="0"/>
            </a:endParaRPr>
          </a:p>
        </p:txBody>
      </p:sp>
      <p:sp>
        <p:nvSpPr>
          <p:cNvPr id="6" name="Oikea aaltosulje 5">
            <a:extLst>
              <a:ext uri="{FF2B5EF4-FFF2-40B4-BE49-F238E27FC236}">
                <a16:creationId xmlns:a16="http://schemas.microsoft.com/office/drawing/2014/main" id="{44CCCB6C-8650-3C48-F108-DBAC5A9BFD66}"/>
              </a:ext>
            </a:extLst>
          </p:cNvPr>
          <p:cNvSpPr/>
          <p:nvPr/>
        </p:nvSpPr>
        <p:spPr>
          <a:xfrm>
            <a:off x="1989149" y="4021766"/>
            <a:ext cx="288899" cy="894102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ExtraLight"/>
              <a:ea typeface="+mn-ea"/>
              <a:cs typeface="+mn-cs"/>
            </a:endParaRPr>
          </a:p>
        </p:txBody>
      </p:sp>
      <p:sp>
        <p:nvSpPr>
          <p:cNvPr id="8" name="Rectangle: Rounded Corners 50">
            <a:extLst>
              <a:ext uri="{FF2B5EF4-FFF2-40B4-BE49-F238E27FC236}">
                <a16:creationId xmlns:a16="http://schemas.microsoft.com/office/drawing/2014/main" id="{FE3CB750-5D00-E660-7D8B-651904AAB51C}"/>
              </a:ext>
            </a:extLst>
          </p:cNvPr>
          <p:cNvSpPr/>
          <p:nvPr/>
        </p:nvSpPr>
        <p:spPr>
          <a:xfrm>
            <a:off x="1315407" y="6594217"/>
            <a:ext cx="4561302" cy="13908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762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rPr>
              <a:t>Os. Juurela, Miia Vuolasmaa</a:t>
            </a:r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1FB127F8-126A-63AC-50F8-2AF588C6E9BB}"/>
              </a:ext>
            </a:extLst>
          </p:cNvPr>
          <p:cNvGrpSpPr/>
          <p:nvPr/>
        </p:nvGrpSpPr>
        <p:grpSpPr>
          <a:xfrm>
            <a:off x="6461144" y="3244850"/>
            <a:ext cx="4538662" cy="999907"/>
            <a:chOff x="6451851" y="5698118"/>
            <a:chExt cx="4538662" cy="999907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CBB7225-234D-47A7-9590-9C9A8FBC208C}"/>
                </a:ext>
              </a:extLst>
            </p:cNvPr>
            <p:cNvSpPr/>
            <p:nvPr/>
          </p:nvSpPr>
          <p:spPr>
            <a:xfrm>
              <a:off x="6474717" y="5698118"/>
              <a:ext cx="4515796" cy="18831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762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/>
                </a:rPr>
                <a:t>Lastensuojelun sijaishuollon sosiaalityö, Pia Green</a:t>
              </a:r>
              <a:endPara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ExtraLight"/>
                <a:ea typeface="+mn-ea"/>
                <a:cs typeface="Poppins ExtraBold"/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0141C2D-3877-40B2-8AFA-94521C6C8349}"/>
                </a:ext>
              </a:extLst>
            </p:cNvPr>
            <p:cNvSpPr/>
            <p:nvPr/>
          </p:nvSpPr>
          <p:spPr>
            <a:xfrm>
              <a:off x="6457539" y="6377272"/>
              <a:ext cx="4516081" cy="141730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937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 panose="020B0604020202020204" charset="0"/>
                </a:rPr>
                <a:t>Laitoshoidon tiimi , Pia Koskikuru</a:t>
              </a:r>
              <a:endParaRPr kumimoji="0" lang="fi-FI" sz="105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47A4058A-9ABB-43E8-9E2A-447083E137D1}"/>
                </a:ext>
              </a:extLst>
            </p:cNvPr>
            <p:cNvSpPr/>
            <p:nvPr/>
          </p:nvSpPr>
          <p:spPr>
            <a:xfrm>
              <a:off x="6465423" y="5937814"/>
              <a:ext cx="4509005" cy="16668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762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/>
                </a:rPr>
                <a:t>Perhehoidon tiimi, Tiffany Erikkilä</a:t>
              </a:r>
              <a:endPara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ExtraLight"/>
                <a:ea typeface="+mn-ea"/>
                <a:cs typeface="Poppins ExtraBold" panose="020B0604020202020204" charset="0"/>
              </a:endParaRP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2FA57A1E-973E-472C-AB08-272EC97015BD}"/>
                </a:ext>
              </a:extLst>
            </p:cNvPr>
            <p:cNvSpPr/>
            <p:nvPr/>
          </p:nvSpPr>
          <p:spPr>
            <a:xfrm>
              <a:off x="6472214" y="6178895"/>
              <a:ext cx="4509005" cy="153803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762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/>
                </a:rPr>
                <a:t>Perhehoidon tiimi, Piia Vaara</a:t>
              </a:r>
            </a:p>
          </p:txBody>
        </p:sp>
        <p:sp>
          <p:nvSpPr>
            <p:cNvPr id="9" name="Rectangle: Rounded Corners 50">
              <a:extLst>
                <a:ext uri="{FF2B5EF4-FFF2-40B4-BE49-F238E27FC236}">
                  <a16:creationId xmlns:a16="http://schemas.microsoft.com/office/drawing/2014/main" id="{0B79ED03-3B10-AB35-C95D-6C572D5B8C9E}"/>
                </a:ext>
              </a:extLst>
            </p:cNvPr>
            <p:cNvSpPr/>
            <p:nvPr/>
          </p:nvSpPr>
          <p:spPr>
            <a:xfrm>
              <a:off x="6451851" y="6551884"/>
              <a:ext cx="4511914" cy="14614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762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 ExtraLight"/>
                  <a:ea typeface="+mn-ea"/>
                  <a:cs typeface="Poppins ExtraBold"/>
                </a:rPr>
                <a:t>Laitos- ja perhehoidon tiimi, Päivi Pelto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6455137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073823-EEF1-0151-FD67-96545B7C5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5" y="522258"/>
            <a:ext cx="10260000" cy="1325563"/>
          </a:xfrm>
        </p:spPr>
        <p:txBody>
          <a:bodyPr/>
          <a:lstStyle/>
          <a:p>
            <a:r>
              <a:rPr lang="fi-FI" dirty="0"/>
              <a:t>Palvelualueen yleiskuvau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786007-9DB2-278E-B587-D67221D275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i-FI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erheiden erityispalvelujen palvelualue vastaa lastensuojelun tarpeessa olevien lasten ja heidän perheidensä lakisääteisistä palveluista: lapsi- ja perhekohtaisesta sosiaalityöstä, lastensuojelun avohuollon tukitoimista sekä sijais- ja jälkihuollosta alle 18-vuotiaiden osalta. </a:t>
            </a:r>
          </a:p>
          <a:p>
            <a:pPr marL="0" indent="0">
              <a:buNone/>
            </a:pPr>
            <a:r>
              <a:rPr lang="fi-FI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alvelualue jakautuu lastensuojelun avohuollon ja lastensuojelun sijaishuollon tehtäväalueisiin. Lastensuojelun avohuollon tehtäväalueella on kolme palveluyksikköä: avohuollon sosiaalityö, lastensuojelun kotiin vietävät palvelut ja Kuuselan perhekuntoutuskeskus. Sijaishuollon tehtäväalue koostuu sijaishuollon sosiaalityön, lasten ja nuorten vastaanottotoiminnan sekä kuntouttavan sijaishuollon yksiköistä.</a:t>
            </a:r>
          </a:p>
          <a:p>
            <a:pPr marL="0" indent="0">
              <a:buNone/>
            </a:pP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51463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1DBA983-EFFF-43AC-1C08-4E99EBB44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5" y="535510"/>
            <a:ext cx="5432400" cy="1241919"/>
          </a:xfrm>
        </p:spPr>
        <p:txBody>
          <a:bodyPr/>
          <a:lstStyle/>
          <a:p>
            <a:r>
              <a:rPr lang="fi-FI" dirty="0"/>
              <a:t>Perheiden erityispalvelujen tavoitteet 2023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F6C5C440-0895-DB7F-1C1C-DFB5DC9A69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49964" y="1910993"/>
            <a:ext cx="5546035" cy="4149292"/>
          </a:xfrm>
        </p:spPr>
        <p:txBody>
          <a:bodyPr>
            <a:normAutofit fontScale="92500" lnSpcReduction="10000"/>
          </a:bodyPr>
          <a:lstStyle/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Lastensuojelun ja erityisesti raskaimpien palvelujen / kodin ulkopuolisten sijoitusten tarve vähenee</a:t>
            </a:r>
          </a:p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Kehitämme lastensuojelun laitoshoitoa vastaamaan paremmin lasten yksilöllisiin tarpeisiin</a:t>
            </a:r>
          </a:p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Lastensuojelun perhehoidon osuus kasvaa edelleen</a:t>
            </a:r>
          </a:p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Johdamme valmentavalla otteella, henkilöstön osallisuutta ja aktiivista vuoropuhelua vahvistaen​</a:t>
            </a:r>
          </a:p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Vahvistamme henkilöstön työssä jaksamista ja työyhteisöjen psykologista pääomaa </a:t>
            </a:r>
          </a:p>
          <a:p>
            <a:endParaRPr lang="fi-FI" dirty="0"/>
          </a:p>
        </p:txBody>
      </p:sp>
      <p:pic>
        <p:nvPicPr>
          <p:cNvPr id="6" name="Kuvan paikkamerkki 5" descr="Kuva, joka sisältää kohteen taivas, piha-, graffiti, maalattu&#10;&#10;Kuvaus luotu automaattisesti">
            <a:extLst>
              <a:ext uri="{FF2B5EF4-FFF2-40B4-BE49-F238E27FC236}">
                <a16:creationId xmlns:a16="http://schemas.microsoft.com/office/drawing/2014/main" id="{67B7A98B-1247-CD53-BE59-645BA9832AA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21730" r="21730"/>
          <a:stretch>
            <a:fillRect/>
          </a:stretch>
        </p:blipFill>
        <p:spPr>
          <a:xfrm>
            <a:off x="6462445" y="0"/>
            <a:ext cx="5729555" cy="6858000"/>
          </a:xfrm>
        </p:spPr>
      </p:pic>
    </p:spTree>
    <p:extLst>
      <p:ext uri="{BB962C8B-B14F-4D97-AF65-F5344CB8AC3E}">
        <p14:creationId xmlns:p14="http://schemas.microsoft.com/office/powerpoint/2010/main" val="32210372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F105761-7A82-7B1F-7B4B-6020E3569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5" y="535511"/>
            <a:ext cx="10260000" cy="1026162"/>
          </a:xfrm>
        </p:spPr>
        <p:txBody>
          <a:bodyPr/>
          <a:lstStyle/>
          <a:p>
            <a:r>
              <a:rPr lang="fi-FI" dirty="0"/>
              <a:t>Lastensuojelun palvelut 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B6E5981-0409-6731-8143-6C22281D99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9965" y="1705510"/>
            <a:ext cx="10260000" cy="4291529"/>
          </a:xfrm>
        </p:spPr>
        <p:txBody>
          <a:bodyPr>
            <a:normAutofit fontScale="77500" lnSpcReduction="20000"/>
          </a:bodyPr>
          <a:lstStyle/>
          <a:p>
            <a:r>
              <a:rPr lang="fi-FI" b="0" i="0" dirty="0">
                <a:solidFill>
                  <a:srgbClr val="191919"/>
                </a:solidFill>
                <a:effectLst/>
                <a:latin typeface="+mn-lt"/>
              </a:rPr>
              <a:t>Lastensuojelun avohuollon tukitoimilla tuetaan lapsen myönteistä kehitystä sekä edistetään vanhempien, huoltajien sekä muiden lapsen hoidosta ja kasvatuksesta vastaavien henkilöiden kasvatuskykyä ja –mahdollisuuksia. </a:t>
            </a:r>
          </a:p>
          <a:p>
            <a:r>
              <a:rPr lang="fi-FI" b="0" i="0" dirty="0">
                <a:solidFill>
                  <a:srgbClr val="191919"/>
                </a:solidFill>
                <a:effectLst/>
                <a:latin typeface="+mn-lt"/>
              </a:rPr>
              <a:t>Tukitoimet perustuvat kirjalliseen asiakassuunnitelmaan.  </a:t>
            </a:r>
          </a:p>
          <a:p>
            <a:r>
              <a:rPr lang="fi-FI" dirty="0">
                <a:latin typeface="+mn-lt"/>
              </a:rPr>
              <a:t>Lastensuojelulaissa mainittuja tukitoimia ovat </a:t>
            </a:r>
          </a:p>
          <a:p>
            <a:pPr marL="0" indent="0">
              <a:buNone/>
            </a:pPr>
            <a:r>
              <a:rPr lang="fi-FI" dirty="0">
                <a:latin typeface="+mn-lt"/>
              </a:rPr>
              <a:t>	1) tuki lapsen ja perheen ongelmatilanteen selvittämiseen (sosiaalityö)</a:t>
            </a:r>
          </a:p>
          <a:p>
            <a:pPr marL="0" indent="0">
              <a:buNone/>
            </a:pPr>
            <a:r>
              <a:rPr lang="fi-FI" dirty="0">
                <a:latin typeface="+mn-lt"/>
              </a:rPr>
              <a:t>	2) lapsen taloudellista ja muuta tukemista mm. koulunkäynnissä, harrastuksissa, 	läheisten ihmissuhteiden ylläpitämisessä sekä muiden henkilökohtaisten 	tarpeiden tyydyttämisessä;</a:t>
            </a:r>
          </a:p>
          <a:p>
            <a:pPr marL="0" indent="0">
              <a:buNone/>
            </a:pPr>
            <a:r>
              <a:rPr lang="fi-FI" dirty="0">
                <a:latin typeface="+mn-lt"/>
              </a:rPr>
              <a:t>	3) lapsen kuntoutumista tukevia hoito- ja terapiapalveluja;</a:t>
            </a:r>
          </a:p>
          <a:p>
            <a:pPr marL="0" indent="0">
              <a:buNone/>
            </a:pPr>
            <a:r>
              <a:rPr lang="fi-FI" dirty="0">
                <a:latin typeface="+mn-lt"/>
              </a:rPr>
              <a:t>	4) tehostettua perhetyö</a:t>
            </a:r>
          </a:p>
          <a:p>
            <a:pPr marL="0" indent="0">
              <a:buNone/>
            </a:pPr>
            <a:r>
              <a:rPr lang="fi-FI" dirty="0">
                <a:latin typeface="+mn-lt"/>
              </a:rPr>
              <a:t>	5) perhekuntoutusta</a:t>
            </a:r>
          </a:p>
          <a:p>
            <a:pPr marL="0" indent="0">
              <a:buNone/>
            </a:pPr>
            <a:r>
              <a:rPr lang="fi-FI" dirty="0">
                <a:latin typeface="+mn-lt"/>
              </a:rPr>
              <a:t>	6) muut lasta ja perhettä tukevat palvelut ja tukitoimet</a:t>
            </a:r>
          </a:p>
        </p:txBody>
      </p:sp>
    </p:spTree>
    <p:extLst>
      <p:ext uri="{BB962C8B-B14F-4D97-AF65-F5344CB8AC3E}">
        <p14:creationId xmlns:p14="http://schemas.microsoft.com/office/powerpoint/2010/main" val="30652083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D60973A-67D1-1771-7ACE-79B708375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5" y="535510"/>
            <a:ext cx="10260000" cy="1221371"/>
          </a:xfrm>
        </p:spPr>
        <p:txBody>
          <a:bodyPr>
            <a:normAutofit fontScale="90000"/>
          </a:bodyPr>
          <a:lstStyle/>
          <a:p>
            <a:r>
              <a:rPr lang="fi-FI" dirty="0"/>
              <a:t>Lastensuojelun palvelut Vantaan ja Keravan hyvinvointialueella (oma tuotanto)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A97CCBBB-5B3F-62C3-CBC7-1B66A287FE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9965" y="1880172"/>
            <a:ext cx="10260000" cy="4263774"/>
          </a:xfrm>
        </p:spPr>
        <p:txBody>
          <a:bodyPr>
            <a:normAutofit fontScale="77500" lnSpcReduction="20000"/>
          </a:bodyPr>
          <a:lstStyle/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Avohuollon sosiaalityön palveluita järjestetään kahdessa yksikössä, kolmessa eri toimipisteessä: Tikkurila, Myyrmäki, Kerava </a:t>
            </a:r>
          </a:p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Sijaishuollon sosiaalityön palvelut on keskitetty hallinnollisesti yhteen yksikköön (toimipisteet Tikkurila ja Kerava)</a:t>
            </a:r>
          </a:p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Tehostettua perhetyötä tarjoaa kaksi alueellista perhetyön tiimiä, nuorten tiimi sekä kiireellisen tehostetun perhetyön tiimi</a:t>
            </a:r>
          </a:p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Ympärivuorokautisesta perhekuntoutuksesta vastaa Kuuselan perhekuntoutuskeskus (17 asiakaspaikkaa)</a:t>
            </a:r>
          </a:p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Lasten ja nuorten sijaishuoltoa järjestetään neljällä vastaanotto-osastolla (28 paikkaa) ja kolmessa kuntouttavassa yksikössä (20 paikkaa). Neljäs kuntouttava yksikkö on perusteilla. </a:t>
            </a:r>
          </a:p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Oman tuotannon osuus lastensuojelun laitoshoidosta on n. 12 %</a:t>
            </a:r>
          </a:p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Perhehoitoa järjestetään omana tuotantona lyhytaikaisesti 25 vastaanottoperheessä ja  180 sijaisperheessä. Perhehoidon osuus on n. 57 % (sisältää luvanvaraiset perhekodit)</a:t>
            </a:r>
          </a:p>
        </p:txBody>
      </p:sp>
    </p:spTree>
    <p:extLst>
      <p:ext uri="{BB962C8B-B14F-4D97-AF65-F5344CB8AC3E}">
        <p14:creationId xmlns:p14="http://schemas.microsoft.com/office/powerpoint/2010/main" val="26223775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kartta&#10;&#10;Kuvaus luotu automaattisesti">
            <a:extLst>
              <a:ext uri="{FF2B5EF4-FFF2-40B4-BE49-F238E27FC236}">
                <a16:creationId xmlns:a16="http://schemas.microsoft.com/office/drawing/2014/main" id="{58694FAD-F509-CEC7-7B05-AD7B488569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8121" y="99317"/>
            <a:ext cx="6895112" cy="602377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C9E1D9E-CB22-9BBE-552B-A1129AFA341E}"/>
              </a:ext>
            </a:extLst>
          </p:cNvPr>
          <p:cNvSpPr txBox="1"/>
          <p:nvPr/>
        </p:nvSpPr>
        <p:spPr>
          <a:xfrm>
            <a:off x="8593015" y="5632938"/>
            <a:ext cx="3016738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uselan perhekuntoutuskesku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87B99D-7C55-7E24-D8CE-B5D50055D0DC}"/>
              </a:ext>
            </a:extLst>
          </p:cNvPr>
          <p:cNvSpPr txBox="1"/>
          <p:nvPr/>
        </p:nvSpPr>
        <p:spPr>
          <a:xfrm>
            <a:off x="9071708" y="3386016"/>
            <a:ext cx="274320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ola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BF1FC8-DB18-3F3B-FEED-A18DC17319AB}"/>
              </a:ext>
            </a:extLst>
          </p:cNvPr>
          <p:cNvSpPr txBox="1"/>
          <p:nvPr/>
        </p:nvSpPr>
        <p:spPr>
          <a:xfrm>
            <a:off x="9003323" y="2555631"/>
            <a:ext cx="274320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jula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4761BB3-16BE-A41F-1CA9-417BC77997B3}"/>
              </a:ext>
            </a:extLst>
          </p:cNvPr>
          <p:cNvSpPr txBox="1"/>
          <p:nvPr/>
        </p:nvSpPr>
        <p:spPr>
          <a:xfrm>
            <a:off x="5056554" y="2379785"/>
            <a:ext cx="274320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uorikumpu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6A5379-EA19-D29D-10FE-CC14764FE739}"/>
              </a:ext>
            </a:extLst>
          </p:cNvPr>
          <p:cNvSpPr txBox="1"/>
          <p:nvPr/>
        </p:nvSpPr>
        <p:spPr>
          <a:xfrm>
            <a:off x="3444631" y="626768"/>
            <a:ext cx="2983523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mmirinteen vastaanottokoti,  os. </a:t>
            </a:r>
            <a:r>
              <a:rPr kumimoji="0" lang="fi-FI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rhola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a Vaahteramäk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553E09-1B7F-74BE-99DC-D58ECD8DEE16}"/>
              </a:ext>
            </a:extLst>
          </p:cNvPr>
          <p:cNvSpPr txBox="1"/>
          <p:nvPr/>
        </p:nvSpPr>
        <p:spPr>
          <a:xfrm>
            <a:off x="2672861" y="1295399"/>
            <a:ext cx="2342662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Kataja)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3C162E-164A-42EF-92CC-02B6B571282A}"/>
              </a:ext>
            </a:extLst>
          </p:cNvPr>
          <p:cNvSpPr txBox="1"/>
          <p:nvPr/>
        </p:nvSpPr>
        <p:spPr>
          <a:xfrm>
            <a:off x="4392246" y="6189785"/>
            <a:ext cx="274320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orten vastaanotto-os. 1 ja 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" name="Suora nuoliyhdysviiva 41">
            <a:extLst>
              <a:ext uri="{FF2B5EF4-FFF2-40B4-BE49-F238E27FC236}">
                <a16:creationId xmlns:a16="http://schemas.microsoft.com/office/drawing/2014/main" id="{2FEAC800-C8D0-3924-2A3E-04BAA74C45F4}"/>
              </a:ext>
            </a:extLst>
          </p:cNvPr>
          <p:cNvCxnSpPr>
            <a:cxnSpLocks/>
          </p:cNvCxnSpPr>
          <p:nvPr/>
        </p:nvCxnSpPr>
        <p:spPr>
          <a:xfrm>
            <a:off x="2761695" y="1335357"/>
            <a:ext cx="539587" cy="9373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uora nuoliyhdysviiva 41">
            <a:extLst>
              <a:ext uri="{FF2B5EF4-FFF2-40B4-BE49-F238E27FC236}">
                <a16:creationId xmlns:a16="http://schemas.microsoft.com/office/drawing/2014/main" id="{511A96FF-136D-72E0-C8BF-907CE255E05C}"/>
              </a:ext>
            </a:extLst>
          </p:cNvPr>
          <p:cNvCxnSpPr>
            <a:cxnSpLocks/>
          </p:cNvCxnSpPr>
          <p:nvPr/>
        </p:nvCxnSpPr>
        <p:spPr>
          <a:xfrm flipH="1">
            <a:off x="3681506" y="1182718"/>
            <a:ext cx="408028" cy="14942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uora nuoliyhdysviiva 41">
            <a:extLst>
              <a:ext uri="{FF2B5EF4-FFF2-40B4-BE49-F238E27FC236}">
                <a16:creationId xmlns:a16="http://schemas.microsoft.com/office/drawing/2014/main" id="{D089ABE5-8EC8-E4A0-7E33-5FAD661DDD30}"/>
              </a:ext>
            </a:extLst>
          </p:cNvPr>
          <p:cNvCxnSpPr>
            <a:cxnSpLocks/>
          </p:cNvCxnSpPr>
          <p:nvPr/>
        </p:nvCxnSpPr>
        <p:spPr>
          <a:xfrm>
            <a:off x="5613534" y="2716487"/>
            <a:ext cx="842433" cy="1797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uora nuoliyhdysviiva 41">
            <a:extLst>
              <a:ext uri="{FF2B5EF4-FFF2-40B4-BE49-F238E27FC236}">
                <a16:creationId xmlns:a16="http://schemas.microsoft.com/office/drawing/2014/main" id="{3B5DDB23-07E7-40C6-BE8C-428B93ED451A}"/>
              </a:ext>
            </a:extLst>
          </p:cNvPr>
          <p:cNvCxnSpPr>
            <a:cxnSpLocks/>
          </p:cNvCxnSpPr>
          <p:nvPr/>
        </p:nvCxnSpPr>
        <p:spPr>
          <a:xfrm flipH="1" flipV="1">
            <a:off x="7149584" y="2716005"/>
            <a:ext cx="1834335" cy="884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uora nuoliyhdysviiva 41">
            <a:extLst>
              <a:ext uri="{FF2B5EF4-FFF2-40B4-BE49-F238E27FC236}">
                <a16:creationId xmlns:a16="http://schemas.microsoft.com/office/drawing/2014/main" id="{1136F82D-ACDA-4827-4FD9-07765FDDC2CF}"/>
              </a:ext>
            </a:extLst>
          </p:cNvPr>
          <p:cNvCxnSpPr>
            <a:cxnSpLocks/>
          </p:cNvCxnSpPr>
          <p:nvPr/>
        </p:nvCxnSpPr>
        <p:spPr>
          <a:xfrm flipH="1">
            <a:off x="7305890" y="3664102"/>
            <a:ext cx="1814797" cy="370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uora nuoliyhdysviiva 41">
            <a:extLst>
              <a:ext uri="{FF2B5EF4-FFF2-40B4-BE49-F238E27FC236}">
                <a16:creationId xmlns:a16="http://schemas.microsoft.com/office/drawing/2014/main" id="{3BAAB0A8-65DE-DD86-F01B-FF51C34BCE66}"/>
              </a:ext>
            </a:extLst>
          </p:cNvPr>
          <p:cNvCxnSpPr>
            <a:cxnSpLocks/>
          </p:cNvCxnSpPr>
          <p:nvPr/>
        </p:nvCxnSpPr>
        <p:spPr>
          <a:xfrm flipH="1" flipV="1">
            <a:off x="7110506" y="4806620"/>
            <a:ext cx="1433797" cy="9871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uora nuoliyhdysviiva 41">
            <a:extLst>
              <a:ext uri="{FF2B5EF4-FFF2-40B4-BE49-F238E27FC236}">
                <a16:creationId xmlns:a16="http://schemas.microsoft.com/office/drawing/2014/main" id="{AAA00176-4200-E279-AA76-749D9F766CA5}"/>
              </a:ext>
            </a:extLst>
          </p:cNvPr>
          <p:cNvCxnSpPr>
            <a:cxnSpLocks/>
          </p:cNvCxnSpPr>
          <p:nvPr/>
        </p:nvCxnSpPr>
        <p:spPr>
          <a:xfrm flipV="1">
            <a:off x="5252072" y="4718696"/>
            <a:ext cx="1663049" cy="14756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27191BC6-A661-F444-5F54-7F45B9C6D61F}"/>
              </a:ext>
            </a:extLst>
          </p:cNvPr>
          <p:cNvSpPr txBox="1"/>
          <p:nvPr/>
        </p:nvSpPr>
        <p:spPr>
          <a:xfrm>
            <a:off x="181707" y="35169"/>
            <a:ext cx="8770814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stensuojelun laitoshoito Vantaan ja Keravan hyvinvointialueella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76178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90EE4A5-4A83-2CD4-7C24-AE4AF55A48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5" y="535511"/>
            <a:ext cx="5432400" cy="800130"/>
          </a:xfrm>
        </p:spPr>
        <p:txBody>
          <a:bodyPr/>
          <a:lstStyle/>
          <a:p>
            <a:r>
              <a:rPr lang="fi-FI" dirty="0"/>
              <a:t>Keskeisiä lukuja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CCAE7B2D-ECCB-3369-BD2F-82F1A81319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49965" y="1551398"/>
            <a:ext cx="5432400" cy="4457516"/>
          </a:xfrm>
        </p:spPr>
        <p:txBody>
          <a:bodyPr/>
          <a:lstStyle/>
          <a:p>
            <a:r>
              <a:rPr lang="fi-FI" dirty="0"/>
              <a:t>Avohuollon asiakkaita 1453; osuus 0-17-vuotiaasta väestöstä 2,6 % (Vantaa 31.12.22)</a:t>
            </a:r>
          </a:p>
          <a:p>
            <a:r>
              <a:rPr lang="fi-FI" dirty="0"/>
              <a:t>Sijaishuollon asiakkaita 713</a:t>
            </a:r>
          </a:p>
          <a:p>
            <a:r>
              <a:rPr lang="fi-FI" dirty="0"/>
              <a:t>Henkilöstöä yhteensä noin 300, suurimmat ammattiryhmät sosiaaliohjaajat ja sosiaalityöntekijät</a:t>
            </a:r>
          </a:p>
          <a:p>
            <a:r>
              <a:rPr lang="fi-FI" dirty="0"/>
              <a:t>Avohuollon sosiaalityöntekijän virkoja 48, joista 12 täyttämättä</a:t>
            </a:r>
          </a:p>
          <a:p>
            <a:r>
              <a:rPr lang="fi-FI" dirty="0"/>
              <a:t>Sijaishuollon sosiaalityöntekijän virkoja 25, jotka kaikki täynnä</a:t>
            </a:r>
          </a:p>
          <a:p>
            <a:endParaRPr lang="fi-FI" dirty="0"/>
          </a:p>
        </p:txBody>
      </p:sp>
      <p:pic>
        <p:nvPicPr>
          <p:cNvPr id="6" name="Kuvan paikkamerkki 5" descr="Numerot ja symbolit">
            <a:extLst>
              <a:ext uri="{FF2B5EF4-FFF2-40B4-BE49-F238E27FC236}">
                <a16:creationId xmlns:a16="http://schemas.microsoft.com/office/drawing/2014/main" id="{81CE1C8A-6862-581D-3BCE-E87886F5365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21659" r="2165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977991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AECFCF2-238A-978B-42BC-6FEF30BFE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5" y="198179"/>
            <a:ext cx="10260000" cy="1325563"/>
          </a:xfrm>
        </p:spPr>
        <p:txBody>
          <a:bodyPr/>
          <a:lstStyle/>
          <a:p>
            <a:r>
              <a:rPr lang="fi-FI" dirty="0"/>
              <a:t>Lastensuojelun keskeiset haasteet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54D59E8A-6E2F-CB7B-7A60-5A392869C3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9965" y="1684962"/>
            <a:ext cx="10260000" cy="4312077"/>
          </a:xfrm>
        </p:spPr>
        <p:txBody>
          <a:bodyPr>
            <a:normAutofit fontScale="85000" lnSpcReduction="10000"/>
          </a:bodyPr>
          <a:lstStyle/>
          <a:p>
            <a:r>
              <a:rPr lang="fi-FI" dirty="0"/>
              <a:t>Työvoimapula, joka kohdistuu etenkin sosiaalityöntekijöihin ja enenevässä määrin sosiaaliohjaajiin</a:t>
            </a:r>
          </a:p>
          <a:p>
            <a:r>
              <a:rPr lang="fi-FI" dirty="0"/>
              <a:t>Lastensuojelulain sitova asiakasmitoitus 35 asiakasta /sosiaalityöntekijä ei toteudu kaikilta osin. Mitoitus kiristyy 1.1.2024 30 asiakkaaseen</a:t>
            </a:r>
          </a:p>
          <a:p>
            <a:r>
              <a:rPr lang="fi-FI" dirty="0"/>
              <a:t>Avohuollon asiakasmäärän ja palvelutarpeen kasvu yhdistettynä tyhjiin virkoihin on johtanut siihen, että 250 lasta odottaa avohuollossa vastuutyöntekijän nimeämistä</a:t>
            </a:r>
          </a:p>
          <a:p>
            <a:r>
              <a:rPr lang="fi-FI" dirty="0"/>
              <a:t>Työntekijöiden vaihtuvuus vaikeuttaa suunnitelmallisen asiakastyön tekemistä </a:t>
            </a:r>
          </a:p>
          <a:p>
            <a:r>
              <a:rPr lang="fi-FI" dirty="0"/>
              <a:t>Sijaishuollon laitoshoidon paikoista, etenkin vaativan tason paikoista on pulaa valtakunnallisesti</a:t>
            </a:r>
          </a:p>
          <a:p>
            <a:r>
              <a:rPr lang="fi-FI" dirty="0"/>
              <a:t>Kustannusten kasvu johtuen palvelutarpeen kasvusta ja ostotuotannon hinnankorotuksista</a:t>
            </a:r>
          </a:p>
        </p:txBody>
      </p:sp>
    </p:spTree>
    <p:extLst>
      <p:ext uri="{BB962C8B-B14F-4D97-AF65-F5344CB8AC3E}">
        <p14:creationId xmlns:p14="http://schemas.microsoft.com/office/powerpoint/2010/main" val="20941963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ääotsikot">
  <a:themeElements>
    <a:clrScheme name="VAKE">
      <a:dk1>
        <a:srgbClr val="FFFFFF"/>
      </a:dk1>
      <a:lt1>
        <a:srgbClr val="302783"/>
      </a:lt1>
      <a:dk2>
        <a:srgbClr val="E6007E"/>
      </a:dk2>
      <a:lt2>
        <a:srgbClr val="76CBF3"/>
      </a:lt2>
      <a:accent1>
        <a:srgbClr val="00983A"/>
      </a:accent1>
      <a:accent2>
        <a:srgbClr val="EA5197"/>
      </a:accent2>
      <a:accent3>
        <a:srgbClr val="74B72B"/>
      </a:accent3>
      <a:accent4>
        <a:srgbClr val="1E1E1E"/>
      </a:accent4>
      <a:accent5>
        <a:srgbClr val="FFFFFF"/>
      </a:accent5>
      <a:accent6>
        <a:srgbClr val="302783"/>
      </a:accent6>
      <a:hlink>
        <a:srgbClr val="E6007E"/>
      </a:hlink>
      <a:folHlink>
        <a:srgbClr val="76CBF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sällöt">
  <a:themeElements>
    <a:clrScheme name="VAKE">
      <a:dk1>
        <a:srgbClr val="FFFFFF"/>
      </a:dk1>
      <a:lt1>
        <a:srgbClr val="302783"/>
      </a:lt1>
      <a:dk2>
        <a:srgbClr val="E6007E"/>
      </a:dk2>
      <a:lt2>
        <a:srgbClr val="76CBF3"/>
      </a:lt2>
      <a:accent1>
        <a:srgbClr val="00983A"/>
      </a:accent1>
      <a:accent2>
        <a:srgbClr val="EA5197"/>
      </a:accent2>
      <a:accent3>
        <a:srgbClr val="74B72B"/>
      </a:accent3>
      <a:accent4>
        <a:srgbClr val="1E1E1E"/>
      </a:accent4>
      <a:accent5>
        <a:srgbClr val="FFFFFF"/>
      </a:accent5>
      <a:accent6>
        <a:srgbClr val="302783"/>
      </a:accent6>
      <a:hlink>
        <a:srgbClr val="E6007E"/>
      </a:hlink>
      <a:folHlink>
        <a:srgbClr val="76CBF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Väliotsikot">
  <a:themeElements>
    <a:clrScheme name="VAKE">
      <a:dk1>
        <a:srgbClr val="FFFFFF"/>
      </a:dk1>
      <a:lt1>
        <a:srgbClr val="302783"/>
      </a:lt1>
      <a:dk2>
        <a:srgbClr val="E6007E"/>
      </a:dk2>
      <a:lt2>
        <a:srgbClr val="76CBF3"/>
      </a:lt2>
      <a:accent1>
        <a:srgbClr val="00983A"/>
      </a:accent1>
      <a:accent2>
        <a:srgbClr val="EA5197"/>
      </a:accent2>
      <a:accent3>
        <a:srgbClr val="74B72B"/>
      </a:accent3>
      <a:accent4>
        <a:srgbClr val="1E1E1E"/>
      </a:accent4>
      <a:accent5>
        <a:srgbClr val="FFFFFF"/>
      </a:accent5>
      <a:accent6>
        <a:srgbClr val="302783"/>
      </a:accent6>
      <a:hlink>
        <a:srgbClr val="E6007E"/>
      </a:hlink>
      <a:folHlink>
        <a:srgbClr val="76CBF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Sitaatit">
  <a:themeElements>
    <a:clrScheme name="VAKE">
      <a:dk1>
        <a:srgbClr val="FFFFFF"/>
      </a:dk1>
      <a:lt1>
        <a:srgbClr val="302783"/>
      </a:lt1>
      <a:dk2>
        <a:srgbClr val="E6007E"/>
      </a:dk2>
      <a:lt2>
        <a:srgbClr val="76CBF3"/>
      </a:lt2>
      <a:accent1>
        <a:srgbClr val="00983A"/>
      </a:accent1>
      <a:accent2>
        <a:srgbClr val="EA5197"/>
      </a:accent2>
      <a:accent3>
        <a:srgbClr val="74B72B"/>
      </a:accent3>
      <a:accent4>
        <a:srgbClr val="1E1E1E"/>
      </a:accent4>
      <a:accent5>
        <a:srgbClr val="FFFFFF"/>
      </a:accent5>
      <a:accent6>
        <a:srgbClr val="302783"/>
      </a:accent6>
      <a:hlink>
        <a:srgbClr val="E6007E"/>
      </a:hlink>
      <a:folHlink>
        <a:srgbClr val="76CBF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Kiitos">
  <a:themeElements>
    <a:clrScheme name="VAKE">
      <a:dk1>
        <a:srgbClr val="FFFFFF"/>
      </a:dk1>
      <a:lt1>
        <a:srgbClr val="302783"/>
      </a:lt1>
      <a:dk2>
        <a:srgbClr val="E6007E"/>
      </a:dk2>
      <a:lt2>
        <a:srgbClr val="76CBF3"/>
      </a:lt2>
      <a:accent1>
        <a:srgbClr val="00983A"/>
      </a:accent1>
      <a:accent2>
        <a:srgbClr val="EA5197"/>
      </a:accent2>
      <a:accent3>
        <a:srgbClr val="74B72B"/>
      </a:accent3>
      <a:accent4>
        <a:srgbClr val="1E1E1E"/>
      </a:accent4>
      <a:accent5>
        <a:srgbClr val="FFFFFF"/>
      </a:accent5>
      <a:accent6>
        <a:srgbClr val="302783"/>
      </a:accent6>
      <a:hlink>
        <a:srgbClr val="E6007E"/>
      </a:hlink>
      <a:folHlink>
        <a:srgbClr val="76CBF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TULsote_ja_rakenneuudistus">
  <a:themeElements>
    <a:clrScheme name="Vakesot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11F83"/>
      </a:accent1>
      <a:accent2>
        <a:srgbClr val="76CBF3"/>
      </a:accent2>
      <a:accent3>
        <a:srgbClr val="00983A"/>
      </a:accent3>
      <a:accent4>
        <a:srgbClr val="74B72B"/>
      </a:accent4>
      <a:accent5>
        <a:srgbClr val="E6007E"/>
      </a:accent5>
      <a:accent6>
        <a:srgbClr val="EA5297"/>
      </a:accent6>
      <a:hlink>
        <a:srgbClr val="0563C1"/>
      </a:hlink>
      <a:folHlink>
        <a:srgbClr val="954F72"/>
      </a:folHlink>
    </a:clrScheme>
    <a:fontScheme name="Vakesote">
      <a:majorFont>
        <a:latin typeface="Poppins Black"/>
        <a:ea typeface=""/>
        <a:cs typeface=""/>
      </a:majorFont>
      <a:minorFont>
        <a:latin typeface="Poppi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012f7f6-da8e-4850-b472-5f402d9d8430">
      <Terms xmlns="http://schemas.microsoft.com/office/infopath/2007/PartnerControls"/>
    </lcf76f155ced4ddcb4097134ff3c332f>
    <TaxCatchAll xmlns="484c8c59-755d-4516-b8d2-1621b38262b4" xsi:nil="true"/>
    <Koulutuksennimi xmlns="d012f7f6-da8e-4850-b472-5f402d9d8430" xsi:nil="true"/>
    <Koulutuksenajankohta xmlns="d012f7f6-da8e-4850-b472-5f402d9d8430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213F9558A529594D94BA0CE421575A6E" ma:contentTypeVersion="14" ma:contentTypeDescription="Luo uusi asiakirja." ma:contentTypeScope="" ma:versionID="8ce82001094cdd7902aa30304dcf1702">
  <xsd:schema xmlns:xsd="http://www.w3.org/2001/XMLSchema" xmlns:xs="http://www.w3.org/2001/XMLSchema" xmlns:p="http://schemas.microsoft.com/office/2006/metadata/properties" xmlns:ns2="d012f7f6-da8e-4850-b472-5f402d9d8430" xmlns:ns3="484c8c59-755d-4516-b8d2-1621b38262b4" xmlns:ns4="16eac99d-8284-4393-89e2-f9994a2004e6" targetNamespace="http://schemas.microsoft.com/office/2006/metadata/properties" ma:root="true" ma:fieldsID="f7db77ac63efa30c7ce1012086ac4c65" ns2:_="" ns3:_="" ns4:_="">
    <xsd:import namespace="d012f7f6-da8e-4850-b472-5f402d9d8430"/>
    <xsd:import namespace="484c8c59-755d-4516-b8d2-1621b38262b4"/>
    <xsd:import namespace="16eac99d-8284-4393-89e2-f9994a2004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4:SharedWithUsers" minOccurs="0"/>
                <xsd:element ref="ns4:SharedWithDetails" minOccurs="0"/>
                <xsd:element ref="ns2:Koulutuksennimi" minOccurs="0"/>
                <xsd:element ref="ns2:Koulutuksenajankoh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12f7f6-da8e-4850-b472-5f402d9d84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Kuvien tunnisteet" ma:readOnly="false" ma:fieldId="{5cf76f15-5ced-4ddc-b409-7134ff3c332f}" ma:taxonomyMulti="true" ma:sspId="65685aec-b611-4d42-aeb4-a50954e9c4c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Koulutuksennimi" ma:index="20" nillable="true" ma:displayName="Koulutuksen nimi" ma:format="Dropdown" ma:internalName="Koulutuksennimi">
      <xsd:simpleType>
        <xsd:restriction base="dms:Text">
          <xsd:maxLength value="255"/>
        </xsd:restriction>
      </xsd:simpleType>
    </xsd:element>
    <xsd:element name="Koulutuksenajankohta" ma:index="21" nillable="true" ma:displayName="Koulutuksen ajankohta" ma:format="DateOnly" ma:internalName="Koulutuksenajankohta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4c8c59-755d-4516-b8d2-1621b38262b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ad70b1e7-5aac-4815-8bc7-4bbdb45c0ee2}" ma:internalName="TaxCatchAll" ma:showField="CatchAllData" ma:web="16eac99d-8284-4393-89e2-f9994a2004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eac99d-8284-4393-89e2-f9994a2004e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47E153-9E63-4800-B50F-8D6327B2836E}">
  <ds:schemaRefs>
    <ds:schemaRef ds:uri="http://purl.org/dc/dcmitype/"/>
    <ds:schemaRef ds:uri="d012f7f6-da8e-4850-b472-5f402d9d8430"/>
    <ds:schemaRef ds:uri="http://purl.org/dc/elements/1.1/"/>
    <ds:schemaRef ds:uri="484c8c59-755d-4516-b8d2-1621b38262b4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16eac99d-8284-4393-89e2-f9994a2004e6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F5AAC8E-DCD4-47DC-B270-5F0559C32146}">
  <ds:schemaRefs>
    <ds:schemaRef ds:uri="16eac99d-8284-4393-89e2-f9994a2004e6"/>
    <ds:schemaRef ds:uri="484c8c59-755d-4516-b8d2-1621b38262b4"/>
    <ds:schemaRef ds:uri="d012f7f6-da8e-4850-b472-5f402d9d843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98146F2-30C0-4888-AD5D-51D7F20FED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80</TotalTime>
  <Words>836</Words>
  <Application>Microsoft Office PowerPoint</Application>
  <PresentationFormat>Laajakuva</PresentationFormat>
  <Paragraphs>114</Paragraphs>
  <Slides>11</Slides>
  <Notes>1</Notes>
  <HiddenSlides>0</HiddenSlides>
  <MMClips>0</MMClips>
  <ScaleCrop>false</ScaleCrop>
  <HeadingPairs>
    <vt:vector size="8" baseType="variant">
      <vt:variant>
        <vt:lpstr>Käytetyt fontit</vt:lpstr>
      </vt:variant>
      <vt:variant>
        <vt:i4>7</vt:i4>
      </vt:variant>
      <vt:variant>
        <vt:lpstr>Teema</vt:lpstr>
      </vt:variant>
      <vt:variant>
        <vt:i4>7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1</vt:i4>
      </vt:variant>
    </vt:vector>
  </HeadingPairs>
  <TitlesOfParts>
    <vt:vector size="26" baseType="lpstr">
      <vt:lpstr>Arial</vt:lpstr>
      <vt:lpstr>Calibri</vt:lpstr>
      <vt:lpstr>Calibri Light</vt:lpstr>
      <vt:lpstr>Poppins</vt:lpstr>
      <vt:lpstr>Poppins ExtraBold</vt:lpstr>
      <vt:lpstr>Poppins ExtraLight</vt:lpstr>
      <vt:lpstr>Poppins SemiBold</vt:lpstr>
      <vt:lpstr>Pääotsikot</vt:lpstr>
      <vt:lpstr>Sisällöt</vt:lpstr>
      <vt:lpstr>Väliotsikot</vt:lpstr>
      <vt:lpstr>Sitaatit</vt:lpstr>
      <vt:lpstr>Kiitos</vt:lpstr>
      <vt:lpstr>1_TULsote_ja_rakenneuudistus</vt:lpstr>
      <vt:lpstr>Office-teema</vt:lpstr>
      <vt:lpstr>think-cell Slide</vt:lpstr>
      <vt:lpstr>Lastensuojelun palvelut Vantaan ja Keravan hyvinvointialueella</vt:lpstr>
      <vt:lpstr>PowerPoint-esitys</vt:lpstr>
      <vt:lpstr>Palvelualueen yleiskuvaus </vt:lpstr>
      <vt:lpstr>Perheiden erityispalvelujen tavoitteet 2023</vt:lpstr>
      <vt:lpstr>Lastensuojelun palvelut </vt:lpstr>
      <vt:lpstr>Lastensuojelun palvelut Vantaan ja Keravan hyvinvointialueella (oma tuotanto)</vt:lpstr>
      <vt:lpstr>PowerPoint-esitys</vt:lpstr>
      <vt:lpstr>Keskeisiä lukuja</vt:lpstr>
      <vt:lpstr>Lastensuojelun keskeiset haasteet</vt:lpstr>
      <vt:lpstr>Lastensuojelun onnistumiset ja kehittäminen </vt:lpstr>
      <vt:lpstr>Kiito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ma Tikkanen</dc:creator>
  <cp:lastModifiedBy>Pukkio Saana</cp:lastModifiedBy>
  <cp:revision>3</cp:revision>
  <dcterms:created xsi:type="dcterms:W3CDTF">2023-02-07T09:28:02Z</dcterms:created>
  <dcterms:modified xsi:type="dcterms:W3CDTF">2023-05-05T11:5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Method">
    <vt:lpwstr>Standard</vt:lpwstr>
  </property>
  <property fmtid="{D5CDD505-2E9C-101B-9397-08002B2CF9AE}" pid="3" name="MSIP_Label_defa4170-0d19-0005-0004-bc88714345d2_Name">
    <vt:lpwstr>defa4170-0d19-0005-0004-bc88714345d2</vt:lpwstr>
  </property>
  <property fmtid="{D5CDD505-2E9C-101B-9397-08002B2CF9AE}" pid="4" name="MediaServiceImageTags">
    <vt:lpwstr/>
  </property>
  <property fmtid="{D5CDD505-2E9C-101B-9397-08002B2CF9AE}" pid="5" name="ContentTypeId">
    <vt:lpwstr>0x010100213F9558A529594D94BA0CE421575A6E</vt:lpwstr>
  </property>
  <property fmtid="{D5CDD505-2E9C-101B-9397-08002B2CF9AE}" pid="6" name="MSIP_Label_defa4170-0d19-0005-0004-bc88714345d2_Enabled">
    <vt:lpwstr>true</vt:lpwstr>
  </property>
  <property fmtid="{D5CDD505-2E9C-101B-9397-08002B2CF9AE}" pid="7" name="MSIP_Label_defa4170-0d19-0005-0004-bc88714345d2_ContentBits">
    <vt:lpwstr>0</vt:lpwstr>
  </property>
  <property fmtid="{D5CDD505-2E9C-101B-9397-08002B2CF9AE}" pid="8" name="MSIP_Label_defa4170-0d19-0005-0004-bc88714345d2_SetDate">
    <vt:lpwstr>2023-02-10T12:03:37Z</vt:lpwstr>
  </property>
  <property fmtid="{D5CDD505-2E9C-101B-9397-08002B2CF9AE}" pid="9" name="MSIP_Label_defa4170-0d19-0005-0004-bc88714345d2_ActionId">
    <vt:lpwstr>418f29a5-c218-44f3-a00c-d3d40f050407</vt:lpwstr>
  </property>
  <property fmtid="{D5CDD505-2E9C-101B-9397-08002B2CF9AE}" pid="10" name="MSIP_Label_defa4170-0d19-0005-0004-bc88714345d2_SiteId">
    <vt:lpwstr>7cbe7314-9eec-453e-aa25-b39667b2f68f</vt:lpwstr>
  </property>
</Properties>
</file>